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heme/themeOverride5.xml" ContentType="application/vnd.openxmlformats-officedocument.themeOverr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3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8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0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1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2.xml" ContentType="application/vnd.openxmlformats-officedocument.theme+xml"/>
  <Override PartName="/ppt/tags/tag51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3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Override6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4.xml" ContentType="application/vnd.openxmlformats-officedocument.theme+xml"/>
  <Override PartName="/ppt/tags/tag60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5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7.xml" ContentType="application/vnd.openxmlformats-officedocument.themeOverride+xml"/>
  <Override PartName="/ppt/tags/tag64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6.xml" ContentType="application/vnd.openxmlformats-officedocument.theme+xml"/>
  <Override PartName="/ppt/tags/tag65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7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10.xml" ContentType="application/vnd.openxmlformats-officedocument.presentationml.slideLayout+xml"/>
  <Override PartName="/ppt/theme/theme18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9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Override8.xml" ContentType="application/vnd.openxmlformats-officedocument.themeOverr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0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21.xml" ContentType="application/vnd.openxmlformats-officedocument.theme+xml"/>
  <Override PartName="/ppt/theme/theme2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4"/>
    <p:sldMasterId id="2147483720" r:id="rId5"/>
    <p:sldMasterId id="2147483737" r:id="rId6"/>
    <p:sldMasterId id="2147483742" r:id="rId7"/>
    <p:sldMasterId id="2147483749" r:id="rId8"/>
    <p:sldMasterId id="2147483756" r:id="rId9"/>
    <p:sldMasterId id="2147483763" r:id="rId10"/>
    <p:sldMasterId id="2147483788" r:id="rId11"/>
    <p:sldMasterId id="2147483794" r:id="rId12"/>
    <p:sldMasterId id="2147483799" r:id="rId13"/>
    <p:sldMasterId id="2147483807" r:id="rId14"/>
    <p:sldMasterId id="2147483813" r:id="rId15"/>
    <p:sldMasterId id="2147483837" r:id="rId16"/>
    <p:sldMasterId id="2147483841" r:id="rId17"/>
    <p:sldMasterId id="2147483844" r:id="rId18"/>
    <p:sldMasterId id="2147483848" r:id="rId19"/>
    <p:sldMasterId id="2147483851" r:id="rId20"/>
    <p:sldMasterId id="2147483892" r:id="rId21"/>
    <p:sldMasterId id="2147483860" r:id="rId22"/>
    <p:sldMasterId id="2147483897" r:id="rId23"/>
  </p:sldMasterIdLst>
  <p:notesMasterIdLst>
    <p:notesMasterId r:id="rId27"/>
  </p:notesMasterIdLst>
  <p:handoutMasterIdLst>
    <p:handoutMasterId r:id="rId28"/>
  </p:handoutMasterIdLst>
  <p:sldIdLst>
    <p:sldId id="2147376938" r:id="rId24"/>
    <p:sldId id="2147376952" r:id="rId25"/>
    <p:sldId id="2147469625" r:id="rId26"/>
  </p:sldIdLst>
  <p:sldSz cx="12190413" cy="6858000"/>
  <p:notesSz cx="6794500" cy="9906000"/>
  <p:custDataLst>
    <p:tags r:id="rId2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66" userDrawn="1">
          <p15:clr>
            <a:srgbClr val="A4A3A4"/>
          </p15:clr>
        </p15:guide>
        <p15:guide id="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23D9911-5103-C0AA-7E47-2247AD0E4A0D}" name="cordula.mock-knoblauch@basf.com" initials="CM" userId="cordula.mock-knoblauch@basf.com" providerId="None"/>
  <p188:author id="{AAA4A2F7-F609-C0FD-702B-34FE55D910FC}" name="sebastian.form@basf.com" initials="SF" userId="sebastian.form@basf.com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AC1E"/>
    <a:srgbClr val="035FA9"/>
    <a:srgbClr val="000000"/>
    <a:srgbClr val="FDF0DB"/>
    <a:srgbClr val="46B0DA"/>
    <a:srgbClr val="21A0D2"/>
    <a:srgbClr val="75C4E3"/>
    <a:srgbClr val="4CAF44"/>
    <a:srgbClr val="E6F1E1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02"/>
      </p:cViewPr>
      <p:guideLst>
        <p:guide orient="horz" pos="366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0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2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86466-5020-480F-98D6-C4C83B2E2945}" type="slidenum">
              <a:rPr lang="de-DE" smtClean="0">
                <a:latin typeface="Arial" pitchFamily="34" charset="0"/>
                <a:cs typeface="Arial" pitchFamily="34" charset="0"/>
              </a:rPr>
              <a:t>‹Nr.›</a:t>
            </a:fld>
            <a:endParaRPr lang="de-DE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28794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0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9388" lvl="0" indent="-179388">
              <a:lnSpc>
                <a:spcPct val="95000"/>
              </a:lnSpc>
              <a:spcBef>
                <a:spcPts val="1800"/>
              </a:spcBef>
              <a:buClr>
                <a:schemeClr val="accent1"/>
              </a:buClr>
              <a:buFont typeface="Wingdings" pitchFamily="2" charset="2"/>
              <a:buChar char="n"/>
            </a:pPr>
            <a:r>
              <a:rPr lang="de-DE"/>
              <a:t>Textmasterformat bearbeiten</a:t>
            </a:r>
          </a:p>
          <a:p>
            <a:pPr marL="360363" lvl="1" indent="-180975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90000"/>
              <a:buFont typeface="Wingdings 3" pitchFamily="18" charset="2"/>
              <a:buChar char="u"/>
            </a:pPr>
            <a:r>
              <a:rPr lang="de-DE"/>
              <a:t>Zweite Ebene</a:t>
            </a:r>
          </a:p>
          <a:p>
            <a:pPr marL="525463" lvl="2" indent="-165100">
              <a:lnSpc>
                <a:spcPct val="95000"/>
              </a:lnSpc>
              <a:spcBef>
                <a:spcPts val="300"/>
              </a:spcBef>
              <a:buClr>
                <a:schemeClr val="accent1"/>
              </a:buClr>
              <a:buSzPct val="90000"/>
              <a:buFont typeface="Wingdings" pitchFamily="2" charset="2"/>
              <a:buChar char="l"/>
            </a:pPr>
            <a:r>
              <a:rPr lang="de-DE"/>
              <a:t>Dritte Ebene</a:t>
            </a:r>
          </a:p>
          <a:p>
            <a:pPr marL="673100" lvl="3" indent="-136525">
              <a:lnSpc>
                <a:spcPct val="95000"/>
              </a:lnSpc>
              <a:buFont typeface="Arial" pitchFamily="34" charset="0"/>
              <a:buChar char="–"/>
            </a:pPr>
            <a:r>
              <a:rPr lang="de-DE"/>
              <a:t>Vier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fld id="{8FF7B9E9-6F9D-4999-8E35-8BAD09A8460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941214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de-DE" sz="1200" kern="1200" noProof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de-DE" sz="1200" kern="1200" noProof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7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7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3.xml"/><Relationship Id="rId7" Type="http://schemas.openxmlformats.org/officeDocument/2006/relationships/oleObject" Target="../embeddings/oleObject38.bin"/><Relationship Id="rId2" Type="http://schemas.openxmlformats.org/officeDocument/2006/relationships/tags" Target="../tags/tag72.xml"/><Relationship Id="rId1" Type="http://schemas.openxmlformats.org/officeDocument/2006/relationships/vmlDrawing" Target="../drawings/vmlDrawing38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hemeOverride" Target="../theme/themeOverride8.xml"/><Relationship Id="rId5" Type="http://schemas.openxmlformats.org/officeDocument/2006/relationships/image" Target="../media/image5.png"/><Relationship Id="rId4" Type="http://schemas.openxmlformats.org/officeDocument/2006/relationships/slideMaster" Target="../slideMasters/slideMaster1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.xml"/><Relationship Id="rId7" Type="http://schemas.openxmlformats.org/officeDocument/2006/relationships/oleObject" Target="../embeddings/oleObject7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0.xml"/><Relationship Id="rId1" Type="http://schemas.openxmlformats.org/officeDocument/2006/relationships/tags" Target="../tags/tag9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6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5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8.xml"/><Relationship Id="rId7" Type="http://schemas.openxmlformats.org/officeDocument/2006/relationships/image" Target="../media/image12.emf"/><Relationship Id="rId2" Type="http://schemas.openxmlformats.org/officeDocument/2006/relationships/vmlDrawing" Target="../drawings/vmlDrawing27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3.xml"/><Relationship Id="rId4" Type="http://schemas.openxmlformats.org/officeDocument/2006/relationships/tags" Target="../tags/tag5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7350D389-EE93-403F-82B7-ECFE41994C28}"/>
              </a:ext>
            </a:extLst>
          </p:cNvPr>
          <p:cNvSpPr/>
          <p:nvPr userDrawn="1"/>
        </p:nvSpPr>
        <p:spPr>
          <a:xfrm>
            <a:off x="0" y="1944000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CCA73983-FC39-4365-8E87-1CDA51E7C8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0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913F758D-D07B-48BC-93EA-5205F192A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/>
              <a:t>Lorem Ipsum </a:t>
            </a:r>
            <a:r>
              <a:rPr lang="en-US" sz="3200" err="1"/>
              <a:t>dolormit</a:t>
            </a:r>
            <a:br>
              <a:rPr lang="en-US" sz="3200"/>
            </a:br>
            <a:r>
              <a:rPr lang="en-US" sz="3200" err="1"/>
              <a:t>amet</a:t>
            </a:r>
            <a:r>
              <a:rPr lang="en-US" sz="3200"/>
              <a:t> </a:t>
            </a:r>
            <a:r>
              <a:rPr lang="en-US" sz="3200" err="1"/>
              <a:t>avensis</a:t>
            </a:r>
            <a:r>
              <a:rPr lang="en-US" sz="3200"/>
              <a:t> </a:t>
            </a:r>
            <a:r>
              <a:rPr lang="en-US" sz="3200" err="1"/>
              <a:t>tusa</a:t>
            </a:r>
            <a:r>
              <a:rPr lang="en-US" sz="3200"/>
              <a:t>.</a:t>
            </a:r>
            <a:endParaRPr lang="de-DE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C56D8F4D-4313-4B49-9283-34C5E7DD0E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BDAC854-B97F-42CA-8528-67110479191C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BBD903B7-A2BE-4903-A851-B189CAE9B2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C39E56A5-B4A0-42C8-B598-F7C482B221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77A0830-D1C2-40CC-A850-7F26558D67EC}"/>
              </a:ext>
            </a:extLst>
          </p:cNvPr>
          <p:cNvGrpSpPr/>
          <p:nvPr userDrawn="1"/>
        </p:nvGrpSpPr>
        <p:grpSpPr>
          <a:xfrm>
            <a:off x="0" y="864000"/>
            <a:ext cx="6096098" cy="1080000"/>
            <a:chOff x="16241308" y="3368287"/>
            <a:chExt cx="6096098" cy="108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1C72451C-AE4F-45FF-AB49-DBD2B1317834}"/>
                </a:ext>
              </a:extLst>
            </p:cNvPr>
            <p:cNvSpPr/>
            <p:nvPr userDrawn="1"/>
          </p:nvSpPr>
          <p:spPr>
            <a:xfrm>
              <a:off x="16241308" y="3368287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FBFDED12-C59E-48F5-8411-76141CD9F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91862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6B5F8-B428-4CAC-84B5-356417C86D20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75760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806B83D-2744-44B7-B575-20B86D450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91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806B83D-2744-44B7-B575-20B86D450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BB8E7C31-C2AF-43FB-8D02-4835AB722627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</a:t>
            </a:r>
            <a:r>
              <a:rPr lang="en-US" err="1"/>
              <a:t>Zusatzinformationen</a:t>
            </a:r>
            <a:endParaRPr lang="en-US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7568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7482546-C659-40D9-8A61-A4B1C58CD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5616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7482546-C659-40D9-8A61-A4B1C58CD0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0D25232E-C72C-48FE-8579-3BCAF640FC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E1B7555C-EFCC-488E-9142-9BAFC52ADBE5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30F9780F-EC10-4F7F-8084-892C3918F0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</a:t>
            </a:r>
            <a:r>
              <a:rPr lang="en-US" err="1"/>
              <a:t>Zusatzinformationen</a:t>
            </a:r>
            <a:endParaRPr lang="en-US"/>
          </a:p>
        </p:txBody>
      </p:sp>
      <p:sp>
        <p:nvSpPr>
          <p:cNvPr id="16" name="Foliennummernplatzhalter 7">
            <a:extLst>
              <a:ext uri="{FF2B5EF4-FFF2-40B4-BE49-F238E27FC236}">
                <a16:creationId xmlns:a16="http://schemas.microsoft.com/office/drawing/2014/main" id="{3CCA7A51-5218-4FDF-94EA-1784E0D2D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0806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959C32F-CCBA-4DFF-9DA4-49D17BD6451C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10601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DE38A51A-BF6D-45C6-9186-A7C7C2A6B52F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04154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CD8319-B9DE-469D-94DA-EAE75A75BE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039511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CD8319-B9DE-469D-94DA-EAE75A75B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7" y="430442"/>
            <a:ext cx="11736385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EDD4CAE-0D68-4E21-87F2-605D51C9E4EC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9881CA2-0DCF-43EE-89F9-95AE1044CA0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5111424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40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294729"/>
      </p:ext>
    </p:extLst>
  </p:cSld>
  <p:clrMapOvr>
    <a:masterClrMapping/>
  </p:clrMapOvr>
  <p:transition spd="med"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137912A-42AE-4F38-BD0F-B7F89104FFE1}"/>
              </a:ext>
            </a:extLst>
          </p:cNvPr>
          <p:cNvGrpSpPr/>
          <p:nvPr userDrawn="1"/>
        </p:nvGrpSpPr>
        <p:grpSpPr>
          <a:xfrm>
            <a:off x="-8991" y="4687321"/>
            <a:ext cx="6194418" cy="1080000"/>
            <a:chOff x="-8991" y="4687321"/>
            <a:chExt cx="6194418" cy="108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C622B6B7-93D8-429A-857C-8366FC4A34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-8991" y="4687321"/>
              <a:ext cx="6194418" cy="108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B4F8C86B-0CE3-46DA-87BF-F661EA2941D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2171" y="4950638"/>
              <a:ext cx="1619425" cy="586722"/>
            </a:xfrm>
            <a:prstGeom prst="rect">
              <a:avLst/>
            </a:prstGeom>
          </p:spPr>
        </p:pic>
      </p:grpSp>
      <p:sp>
        <p:nvSpPr>
          <p:cNvPr id="8" name="Rechteck 7"/>
          <p:cNvSpPr/>
          <p:nvPr userDrawn="1"/>
        </p:nvSpPr>
        <p:spPr>
          <a:xfrm>
            <a:off x="134046" y="800708"/>
            <a:ext cx="6069365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5" name="TitelPlaz"/>
          <p:cNvSpPr>
            <a:spLocks noGrp="1"/>
          </p:cNvSpPr>
          <p:nvPr userDrawn="1">
            <p:ph type="title" hasCustomPrompt="1"/>
            <p:custDataLst>
              <p:tags r:id="rId1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>
                <a:solidFill>
                  <a:schemeClr val="accent1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42" name="Textplatzhalter 40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457216" indent="0">
              <a:buNone/>
              <a:defRPr/>
            </a:lvl2pPr>
            <a:lvl3pPr marL="914430" indent="0">
              <a:buNone/>
              <a:defRPr/>
            </a:lvl3pPr>
            <a:lvl4pPr marL="1371645" indent="0">
              <a:buNone/>
              <a:defRPr/>
            </a:lvl4pPr>
            <a:lvl5pPr marL="1828861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62BFBEAA-2FBA-4360-ADE4-73AE5ABDF8D4}"/>
              </a:ext>
            </a:extLst>
          </p:cNvPr>
          <p:cNvSpPr txBox="1"/>
          <p:nvPr userDrawn="1"/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9" name="Datumsplatzhalter 5">
            <a:extLst>
              <a:ext uri="{FF2B5EF4-FFF2-40B4-BE49-F238E27FC236}">
                <a16:creationId xmlns:a16="http://schemas.microsoft.com/office/drawing/2014/main" id="{78C00482-9842-4FA8-AD1D-08C09AAF8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D44BFA61-99CD-4029-A0F2-5089821F50B8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288B0ACF-B38C-4EE9-BB65-6FBF2607C7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1" name="Foliennummernplatzhalter 7">
            <a:extLst>
              <a:ext uri="{FF2B5EF4-FFF2-40B4-BE49-F238E27FC236}">
                <a16:creationId xmlns:a16="http://schemas.microsoft.com/office/drawing/2014/main" id="{3524B24C-C17D-4026-A2BD-1057D7B8A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988249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94473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03564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7C9969-16BB-42F7-8E55-17821F364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53400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7" imgW="347" imgH="346" progId="TCLayout.ActiveDocument.1">
                  <p:embed/>
                </p:oleObj>
              </mc:Choice>
              <mc:Fallback>
                <p:oleObj name="think-cell Slide" r:id="rId7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7C9969-16BB-42F7-8E55-17821F364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AA357D3-535C-41B7-987E-C506400DF3F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B6A037AB-911E-4825-A89A-47B297F5CC08}" type="datetime8">
              <a:rPr lang="en-DE" smtClean="0"/>
              <a:t>01/11/2023 15: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68115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3968A1E-5774-4FBF-B33D-33246827FA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C59B27-EC49-443B-AFC8-FCCE9D01CA6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B814E2C-65A8-4B4C-A488-296B144409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58CEEC-917F-4652-8701-CCABB57C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104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439F4C-C68F-4CBC-835F-57451383B576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792118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806B83D-2744-44B7-B575-20B86D450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91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806B83D-2744-44B7-B575-20B86D450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7A82C6D9-6C2B-465B-AA45-2E8F0A135374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</a:t>
            </a:r>
            <a:r>
              <a:rPr lang="en-US" err="1"/>
              <a:t>Zusatzinformationen</a:t>
            </a:r>
            <a:endParaRPr lang="en-US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4679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D7FF73-727C-470C-8173-B3FDC709F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5011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9D7FF73-727C-470C-8173-B3FDC709F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9DDFC9B-299D-4494-9DA8-BD6FE7EEEE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48" y="432000"/>
            <a:ext cx="11720395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28571" y="2042853"/>
            <a:ext cx="5822475" cy="406602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03426" y="2029974"/>
            <a:ext cx="5758417" cy="40660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367822" y="6464484"/>
            <a:ext cx="7918969" cy="169200"/>
          </a:xfrm>
        </p:spPr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7511" y="6464484"/>
            <a:ext cx="467939" cy="151200"/>
          </a:xfrm>
        </p:spPr>
        <p:txBody>
          <a:bodyPr/>
          <a:lstStyle/>
          <a:p>
            <a:pPr>
              <a:defRPr/>
            </a:pPr>
            <a:fld id="{A8891091-FE62-49D2-89F9-E8D6289365DA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570" y="6464484"/>
            <a:ext cx="358153" cy="151200"/>
          </a:xfr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244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D87BC4B-C00E-46BA-85ED-71D6958465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5201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D87BC4B-C00E-46BA-85ED-71D6958465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B0906CB-A325-4EBB-97A3-16C387DB96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48" y="432000"/>
            <a:ext cx="11720395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1448" y="2032179"/>
            <a:ext cx="11720395" cy="40638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367822" y="6464484"/>
            <a:ext cx="7918969" cy="169200"/>
          </a:xfrm>
        </p:spPr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687511" y="6464484"/>
            <a:ext cx="467939" cy="151200"/>
          </a:xfrm>
        </p:spPr>
        <p:txBody>
          <a:bodyPr/>
          <a:lstStyle/>
          <a:p>
            <a:pPr>
              <a:defRPr/>
            </a:pPr>
            <a:fld id="{CC369471-5F90-4023-8033-37A10CCC1B67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8570" y="6464484"/>
            <a:ext cx="358153" cy="151200"/>
          </a:xfrm>
        </p:spPr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13261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tab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60C47F4-A474-48FB-91FF-27640D82B133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5515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948FBCD-3152-452F-813F-CF14AC42077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1552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4FBC8F1-7DD8-4107-A906-F997FD867A2B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230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SmartArt graphic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EF38510-FBE3-4A8A-935D-D71994370AEF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86782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F4701650-22DD-4275-B965-4C092D20D93C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49299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FE9C4062-4F68-488C-B192-D44AB061A190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61437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3DC5553-C77D-4DEB-90DB-7EF19FAE4F07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46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C842817-4BC0-428A-86CE-66182B0D7CAE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2420175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7F109FA-9F66-4B33-993F-69BAAA59D1D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45350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F4C5598C-D389-4F1F-AC44-98EF961CC99D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23051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33B34761-D941-44B9-8DD8-287803C193CA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37749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B8DAB1F5-2972-4A77-B0F9-2EAF294ACBC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44437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17" y="431801"/>
            <a:ext cx="11752447" cy="54403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10EA248-61FF-4AF2-B0F6-E5742420056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5144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396E4CA-4069-466C-A256-80D5EC51E40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11140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25452CA-665E-4112-BDFD-25F37EA117F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45369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9F90388-0CA5-436A-B3E7-BDA468C4034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7687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7" y="1965579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F5374D47-C038-4270-BDCC-96B68791208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09785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7" y="1965579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2DD9210-AFAF-41B2-A70F-0F134743FEB3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075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241283"/>
              </p:ext>
            </p:ext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213251"/>
      </p:ext>
    </p:extLst>
  </p:cSld>
  <p:clrMapOvr>
    <a:masterClrMapping/>
  </p:clrMapOvr>
  <p:transition spd="med">
    <p:wipe dir="r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4792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AB61653-50F2-4D0B-9B43-1FBE1D6769AB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22503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15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0AC4E898-2819-43B0-B7F8-F2E35015D2BA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3779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6BC0A26-7F2F-4CD5-8899-9CB4165AE1FC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179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6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3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16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4793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C32C85CC-439C-4F29-91E1-3871116584B2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92277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6306C8F-F3A2-459C-9536-19C4060C20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6450108"/>
              </p:ext>
            </p:extLst>
          </p:nvPr>
        </p:nvGraphicFramePr>
        <p:xfrm>
          <a:off x="1597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6306C8F-F3A2-459C-9536-19C4060C20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7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463C5E-D494-4BD3-84B7-DC49E09F9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6661380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2339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2339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sv-SE"/>
              <a:t>|  Optionale Zusatzinformationen</a:t>
            </a:r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2C856E-82A8-47C8-92E6-019459E98409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190889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3A1E0ED-973C-468A-8D55-2F748A22C30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sv-SE"/>
              <a:t>|  Optionale Zusatzinformationen</a:t>
            </a:r>
            <a:endParaRPr lang="de-DE"/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28094909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EF722746-3120-4F29-8033-77E7BAE3D7D1}"/>
              </a:ext>
            </a:extLst>
          </p:cNvPr>
          <p:cNvSpPr/>
          <p:nvPr userDrawn="1"/>
        </p:nvSpPr>
        <p:spPr>
          <a:xfrm>
            <a:off x="6137409" y="1952716"/>
            <a:ext cx="6053005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1"/>
              </a:solidFill>
            </a:endParaRPr>
          </a:p>
        </p:txBody>
      </p:sp>
      <p:sp>
        <p:nvSpPr>
          <p:cNvPr id="16" name="TitelPlaz">
            <a:extLst>
              <a:ext uri="{FF2B5EF4-FFF2-40B4-BE49-F238E27FC236}">
                <a16:creationId xmlns:a16="http://schemas.microsoft.com/office/drawing/2014/main" id="{2D0A877D-736C-4E76-8A5A-28835373AC4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452060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2412CD1C-BA2D-444C-9518-577B328280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90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92FEE40-9DB9-4788-AE44-77EF0640BB09}"/>
              </a:ext>
            </a:extLst>
          </p:cNvPr>
          <p:cNvGrpSpPr/>
          <p:nvPr/>
        </p:nvGrpSpPr>
        <p:grpSpPr>
          <a:xfrm>
            <a:off x="6137408" y="872716"/>
            <a:ext cx="6053006" cy="1080000"/>
            <a:chOff x="-6603520" y="864000"/>
            <a:chExt cx="6053006" cy="108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AE28190-98A1-443D-91E4-463CB82017CD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3BF38654-5474-4AE0-BA60-5385CF182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DC2A908-9321-4D24-A26A-14A7C5C8A3F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E531160-24E4-4F99-9947-5F1B4FF7057C}" type="datetime8">
              <a:rPr lang="en-DE" smtClean="0"/>
              <a:t>01/11/2023 15:56</a:t>
            </a:fld>
            <a:endParaRPr lang="en-SG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67471B5-5C7D-4BA4-996F-AEF9A8B0F4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|  Optionale Zusatzinformationen</a:t>
            </a:r>
            <a:endParaRPr lang="en-SG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47DE86-DFCB-42B1-BF6F-5EFB36DEFD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EA1D04-CA53-4DE3-84A8-2B63E41036C9}" type="slidenum">
              <a:rPr lang="en-SG" smtClean="0"/>
              <a:pPr/>
              <a:t>‹Nr.›</a:t>
            </a:fld>
            <a:endParaRPr lang="en-SG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341940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215972" y="404814"/>
            <a:ext cx="11764918" cy="935955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6CCD05-5909-4B17-AB1C-D5CD4E05DDE2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84B06B7-7A32-4E58-9C4A-AC10631610D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0969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30714BB5-5B15-4044-95BB-D1198A687A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buClr>
                <a:schemeClr val="accent1"/>
              </a:buClr>
              <a:defRPr/>
            </a:lvl1pPr>
            <a:lvl2pPr marL="719138" indent="-452438"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E7B956EB-E787-4DD8-8C52-990B81BD16E9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02402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7C9969-16BB-42F7-8E55-17821F364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37041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7" imgW="347" imgH="346" progId="TCLayout.ActiveDocument.1">
                  <p:embed/>
                </p:oleObj>
              </mc:Choice>
              <mc:Fallback>
                <p:oleObj name="think-cell Slide" r:id="rId7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7C9969-16BB-42F7-8E55-17821F364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AA357D3-535C-41B7-987E-C506400DF3F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F5E26AFE-8F31-419C-A89E-116C3C564CF5}" type="datetime8">
              <a:rPr lang="en-DE" smtClean="0"/>
              <a:t>01/11/2023 15: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8317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D1CD298F-855F-4758-AF17-D84FA3B993BA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70399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EAA357D3-535C-41B7-987E-C506400DF3F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fld id="{3315F2B1-10B0-4648-B3AF-FA3AD7613211}" type="datetime8">
              <a:rPr lang="en-DE" smtClean="0"/>
              <a:t>01/11/2023 15: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4236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19" y="1965579"/>
            <a:ext cx="1175244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r>
              <a:rPr lang="de-DE">
                <a:cs typeface="Arial"/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fld id="{14D1C903-1F35-4126-8BD9-3FC0DCF18092}" type="datetime8">
              <a:rPr lang="en-DE" smtClean="0">
                <a:solidFill>
                  <a:srgbClr val="000000"/>
                </a:solidFill>
                <a:cs typeface="Arial"/>
              </a:rPr>
              <a:t>01/11/2023 15:56</a:t>
            </a:fld>
            <a:endParaRPr lang="de-DE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  <a:cs typeface="Arial"/>
              </a:rPr>
              <a:pPr defTabSz="914218">
                <a:spcBef>
                  <a:spcPts val="110"/>
                </a:spcBef>
                <a:spcAft>
                  <a:spcPts val="110"/>
                </a:spcAft>
                <a:defRPr/>
              </a:pPr>
              <a:t>‹Nr.›</a:t>
            </a:fld>
            <a:endParaRPr lang="de-DE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405701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D7FED6A4-1E67-4BFB-B33E-FB522135D4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561323B-95C2-45D0-A84C-E1EB87A30C18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D34A7C90-2662-493E-BCCF-04AD8C9BBB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73478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char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813495"/>
              </p:ext>
            </p:extLst>
          </p:nvPr>
        </p:nvGraphicFramePr>
        <p:xfrm>
          <a:off x="2" y="0"/>
          <a:ext cx="2116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211639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34E41C1-D162-4523-81CC-C7A39574D4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7439" y="2317598"/>
            <a:ext cx="6183516" cy="2234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927588"/>
      </p:ext>
    </p:extLst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7C9969-16BB-42F7-8E55-17821F3642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576792"/>
              </p:ext>
            </p:ext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347" imgH="346" progId="TCLayout.ActiveDocument.1">
                  <p:embed/>
                </p:oleObj>
              </mc:Choice>
              <mc:Fallback>
                <p:oleObj name="think-cell Slide" r:id="rId7" imgW="347" imgH="3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7C9969-16BB-42F7-8E55-17821F3642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EAA357D3-535C-41B7-987E-C506400DF3F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5890DDCF-8D8A-4CCF-BC25-C7828F4B96AC}" type="datetime8">
              <a:rPr lang="en-DE" smtClean="0"/>
              <a:t>01/11/2023 15: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0389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C8190D39-4E74-44B8-B3BA-C61AAE8A7120}"/>
              </a:ext>
            </a:extLst>
          </p:cNvPr>
          <p:cNvSpPr/>
          <p:nvPr userDrawn="1"/>
        </p:nvSpPr>
        <p:spPr>
          <a:xfrm>
            <a:off x="1" y="800708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C2D25662-4994-4A0B-AD1B-8A9B948CDA5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79552" y="1232756"/>
            <a:ext cx="5435634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br>
              <a:rPr lang="en-US" sz="3400"/>
            </a:b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F84EC263-BB04-4107-B0D9-FC130A795F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552" y="3861048"/>
            <a:ext cx="543563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EDAA545-7153-439E-B852-1F494250E9F4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B1CB942B-7FE1-49D2-AE41-6691AAF73697}"/>
              </a:ext>
            </a:extLst>
          </p:cNvPr>
          <p:cNvGrpSpPr/>
          <p:nvPr userDrawn="1"/>
        </p:nvGrpSpPr>
        <p:grpSpPr>
          <a:xfrm>
            <a:off x="0" y="4687321"/>
            <a:ext cx="6096098" cy="1080000"/>
            <a:chOff x="16241308" y="3368287"/>
            <a:chExt cx="6096098" cy="108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1EDDEC7-F117-43F1-A0C9-A6D5CB674C1E}"/>
                </a:ext>
              </a:extLst>
            </p:cNvPr>
            <p:cNvSpPr/>
            <p:nvPr userDrawn="1"/>
          </p:nvSpPr>
          <p:spPr>
            <a:xfrm>
              <a:off x="16241308" y="3368287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E0316009-5190-49B0-A0D0-78D25BFB4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57816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EAA357D3-535C-41B7-987E-C506400DF3F7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fld id="{2E913A34-B581-4F6C-BCE1-25901B242C98}" type="datetime8">
              <a:rPr lang="en-DE" smtClean="0"/>
              <a:t>01/11/2023 15: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9327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19" y="1965579"/>
            <a:ext cx="1175244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r>
              <a:rPr lang="de-DE">
                <a:cs typeface="Arial"/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fld id="{2134AFC2-544F-452B-9353-B53B01916FAC}" type="datetime8">
              <a:rPr lang="en-DE" smtClean="0">
                <a:solidFill>
                  <a:srgbClr val="000000"/>
                </a:solidFill>
                <a:cs typeface="Arial"/>
              </a:rPr>
              <a:t>01/11/2023 15:56</a:t>
            </a:fld>
            <a:endParaRPr lang="de-DE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218">
              <a:spcBef>
                <a:spcPts val="110"/>
              </a:spcBef>
              <a:spcAft>
                <a:spcPts val="110"/>
              </a:spcAft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  <a:cs typeface="Arial"/>
              </a:rPr>
              <a:pPr defTabSz="914218">
                <a:spcBef>
                  <a:spcPts val="110"/>
                </a:spcBef>
                <a:spcAft>
                  <a:spcPts val="110"/>
                </a:spcAft>
                <a:defRPr/>
              </a:pPr>
              <a:t>‹Nr.›</a:t>
            </a:fld>
            <a:endParaRPr lang="de-DE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9626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895150D-09AB-400F-82E9-5CF6171FF775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67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80563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AC80C663-04F9-4BE6-A6EA-4401640B14D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81114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3F1B1-E5A6-402A-A47C-EFFDF725A8D9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34829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8D30FA-9500-4E5A-A76D-C4702E0AF810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85616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547" y="593367"/>
            <a:ext cx="11359321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547" y="1536633"/>
            <a:ext cx="11359321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478" lvl="0" indent="-457108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8956" lvl="1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434" lvl="2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7912" lvl="3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390" lvl="4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6868" lvl="5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6346" lvl="6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5824" lvl="7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5302" lvl="8" indent="-423249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5140" y="6217623"/>
            <a:ext cx="73150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0385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6" y="1965579"/>
            <a:ext cx="5800097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3" y="1965579"/>
            <a:ext cx="5800097" cy="3906012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A1E46BD-D867-43D1-9274-1CEFF88C6AC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9522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18" y="1965579"/>
            <a:ext cx="1175244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FABDDD26-A0CA-4FBF-AC3F-100DE574CFD5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3685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18" y="1965579"/>
            <a:ext cx="1175244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5F2FBD66-9806-4F04-8078-E9099DFDB74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778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9498AB8-0F1B-4440-B96B-ED30F795DCD1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F722746-3120-4F29-8033-77E7BAE3D7D1}"/>
              </a:ext>
            </a:extLst>
          </p:cNvPr>
          <p:cNvSpPr/>
          <p:nvPr userDrawn="1"/>
        </p:nvSpPr>
        <p:spPr>
          <a:xfrm>
            <a:off x="6137408" y="1952716"/>
            <a:ext cx="6053005" cy="4032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16" name="TitelPlaz">
            <a:extLst>
              <a:ext uri="{FF2B5EF4-FFF2-40B4-BE49-F238E27FC236}">
                <a16:creationId xmlns:a16="http://schemas.microsoft.com/office/drawing/2014/main" id="{2D0A877D-736C-4E76-8A5A-28835373AC49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52059" y="2492896"/>
            <a:ext cx="540060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7" name="Textplatzhalter 40">
            <a:extLst>
              <a:ext uri="{FF2B5EF4-FFF2-40B4-BE49-F238E27FC236}">
                <a16:creationId xmlns:a16="http://schemas.microsoft.com/office/drawing/2014/main" id="{2412CD1C-BA2D-444C-9518-577B328280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2059" y="5121188"/>
            <a:ext cx="5436604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D92FEE40-9DB9-4788-AE44-77EF0640BB09}"/>
              </a:ext>
            </a:extLst>
          </p:cNvPr>
          <p:cNvGrpSpPr/>
          <p:nvPr/>
        </p:nvGrpSpPr>
        <p:grpSpPr>
          <a:xfrm>
            <a:off x="6137408" y="872716"/>
            <a:ext cx="6053006" cy="1080000"/>
            <a:chOff x="-6603520" y="864000"/>
            <a:chExt cx="6053006" cy="10800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AE28190-98A1-443D-91E4-463CB82017CD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3BF38654-5474-4AE0-BA60-5385CF1826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07482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CCD1A1F-A77A-450A-9838-3717B52BDAEB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36954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A93700F-6F12-43B9-9464-5087867D59E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0148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18" y="1965579"/>
            <a:ext cx="1175244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484BB0C-7766-424A-8D96-782192EBB05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2417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18" y="1965579"/>
            <a:ext cx="1175244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0117F41-ABD4-499C-B344-F84E69CF11B2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4922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3510E7FA-EB8A-49B1-BBBC-8B5BDCD9FBEF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940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657DA9F-F108-43D0-8EB8-21CF3B8749B6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3960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FEF9AAF-2A17-4B32-AB6F-DA4A3535DB7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3265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0C62115-6F10-437E-A84A-A47A7DD2BFF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8151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5F78719A-26C2-4BAC-AE39-4A74C5ABBA2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151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B0C5D23D-1CDB-4F53-9FE5-970817015B6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625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E7D90352-C2FD-40E5-9A7C-2DAF3CB00E27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0E2C2AE-F308-46C8-AB79-EA1C246832AC}"/>
              </a:ext>
            </a:extLst>
          </p:cNvPr>
          <p:cNvSpPr/>
          <p:nvPr userDrawn="1"/>
        </p:nvSpPr>
        <p:spPr>
          <a:xfrm>
            <a:off x="6137408" y="800708"/>
            <a:ext cx="6053006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1"/>
              </a:solidFill>
            </a:endParaRPr>
          </a:p>
        </p:txBody>
      </p:sp>
      <p:sp>
        <p:nvSpPr>
          <p:cNvPr id="21" name="TitelPlaz">
            <a:extLst>
              <a:ext uri="{FF2B5EF4-FFF2-40B4-BE49-F238E27FC236}">
                <a16:creationId xmlns:a16="http://schemas.microsoft.com/office/drawing/2014/main" id="{1AB5D0B5-97E4-40F7-A2BA-8720ECC36AD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425629" y="1232756"/>
            <a:ext cx="5445350" cy="259228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3400" b="1">
                <a:solidFill>
                  <a:schemeClr val="accent1"/>
                </a:solidFill>
              </a:defRPr>
            </a:lvl1pPr>
          </a:lstStyle>
          <a:p>
            <a:r>
              <a:rPr lang="en-US" sz="3400"/>
              <a:t>Lorem Ipsum </a:t>
            </a:r>
            <a:r>
              <a:rPr lang="en-US" sz="3400" err="1"/>
              <a:t>dolormit</a:t>
            </a:r>
            <a:br>
              <a:rPr lang="en-US" sz="3400"/>
            </a:br>
            <a:r>
              <a:rPr lang="en-US" sz="3400" err="1"/>
              <a:t>amet</a:t>
            </a:r>
            <a:r>
              <a:rPr lang="en-US" sz="3400"/>
              <a:t> </a:t>
            </a:r>
            <a:r>
              <a:rPr lang="en-US" sz="3400" err="1"/>
              <a:t>avensis</a:t>
            </a:r>
            <a:r>
              <a:rPr lang="en-US" sz="3400"/>
              <a:t> </a:t>
            </a:r>
            <a:r>
              <a:rPr lang="en-US" sz="3400" err="1"/>
              <a:t>tusa</a:t>
            </a:r>
            <a:r>
              <a:rPr lang="en-US" sz="3400"/>
              <a:t>.</a:t>
            </a:r>
            <a:endParaRPr lang="de-DE" sz="3400" b="0"/>
          </a:p>
        </p:txBody>
      </p:sp>
      <p:sp>
        <p:nvSpPr>
          <p:cNvPr id="22" name="Textplatzhalter 40">
            <a:extLst>
              <a:ext uri="{FF2B5EF4-FFF2-40B4-BE49-F238E27FC236}">
                <a16:creationId xmlns:a16="http://schemas.microsoft.com/office/drawing/2014/main" id="{E1EE057E-0F56-4A3C-B3B0-A324D59CF0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25629" y="3861048"/>
            <a:ext cx="5445350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/>
              <a:t>Ludwigshafen, 26.05.2017</a:t>
            </a: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2D5B854-53AE-405D-AC76-0C84B4A8C5E7}"/>
              </a:ext>
            </a:extLst>
          </p:cNvPr>
          <p:cNvGrpSpPr/>
          <p:nvPr userDrawn="1"/>
        </p:nvGrpSpPr>
        <p:grpSpPr>
          <a:xfrm>
            <a:off x="6137408" y="4687321"/>
            <a:ext cx="6053006" cy="1080000"/>
            <a:chOff x="-6603520" y="864000"/>
            <a:chExt cx="6053006" cy="108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83FED4C5-08F7-42AF-A834-7967BBDF05DF}"/>
                </a:ext>
              </a:extLst>
            </p:cNvPr>
            <p:cNvSpPr/>
            <p:nvPr userDrawn="1"/>
          </p:nvSpPr>
          <p:spPr>
            <a:xfrm>
              <a:off x="-6603520" y="864000"/>
              <a:ext cx="6053006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0D2B42E6-F504-4F69-85BC-88F68A6310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6337644" y="1137683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10146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17" y="431801"/>
            <a:ext cx="11752447" cy="544036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59E6F25-252C-4E3D-B761-2E32F6454D0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56829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18" y="1965579"/>
            <a:ext cx="1175244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55D5DB5-3F12-4591-86DA-89409013C5D7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4861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54E9546E-C508-46E2-A88C-65B469D4A2A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7536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016E4D60-9FA4-4B9F-9B89-5137EB377B86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6511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7" y="1965579"/>
            <a:ext cx="1175244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17" y="3994785"/>
            <a:ext cx="1175244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7D9909B-0C2F-455F-BDFE-2E5C03EE2680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9951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7" y="1965579"/>
            <a:ext cx="1175244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17" y="3994785"/>
            <a:ext cx="1175244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B492F4C-BAD8-40D6-B670-75428D3962FA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3629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4792" y="3994785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B11F43AA-A8F0-4F77-A4C1-B9CEC1F6E7AD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6806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15" y="3994785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4792" y="1965579"/>
            <a:ext cx="5800097" cy="39060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E08D7EC-1736-4182-9E68-01F540DA027C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78859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17" y="3994785"/>
            <a:ext cx="1175244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F6713F4-1C7C-40B0-9A98-AE49714DAAB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010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6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3" y="1965579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16" y="3994785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4793" y="3994785"/>
            <a:ext cx="5800097" cy="187680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5891A08-3242-4BCC-AC34-53AE2C6CAFD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561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Individu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umsplatzhalter 5">
            <a:extLst>
              <a:ext uri="{FF2B5EF4-FFF2-40B4-BE49-F238E27FC236}">
                <a16:creationId xmlns:a16="http://schemas.microsoft.com/office/drawing/2014/main" id="{5D43AC25-5098-4456-9A78-DADF68794F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142B2CB-DF66-4470-8BB9-EAE3FC811B32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5" name="Fußzeilenplatzhalter 6">
            <a:extLst>
              <a:ext uri="{FF2B5EF4-FFF2-40B4-BE49-F238E27FC236}">
                <a16:creationId xmlns:a16="http://schemas.microsoft.com/office/drawing/2014/main" id="{D9068C89-6EE1-4F5B-85D2-A2A0551AF7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6" name="Foliennummernplatzhalter 7">
            <a:extLst>
              <a:ext uri="{FF2B5EF4-FFF2-40B4-BE49-F238E27FC236}">
                <a16:creationId xmlns:a16="http://schemas.microsoft.com/office/drawing/2014/main" id="{167D75CC-57B6-4692-A268-290C92303E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50834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351431EA-8987-4BC2-9894-D7DB72CA7B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D75E26-83F6-4FCE-B2B5-E37B5CBF5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574676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4EFF7D8-BDED-414B-9278-276C7694365E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88621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34374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4719890-2CB0-4500-BF5B-DDD2E37C92A8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71939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6AF198-8C23-4F75-BA78-3D0EADDA299D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2112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B63CB3-8451-4EA4-97BC-3D21055A503A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84458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547" y="593367"/>
            <a:ext cx="11359321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547" y="1536633"/>
            <a:ext cx="11359321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478" lvl="0" indent="-457108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8956" lvl="1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434" lvl="2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7912" lvl="3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390" lvl="4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6868" lvl="5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6346" lvl="6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5824" lvl="7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5302" lvl="8" indent="-423249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5140" y="6217623"/>
            <a:ext cx="73150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07699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2EC5333-C185-48E9-BD9B-07A96D3FDB5C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25340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41696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E9A4273F-B730-400E-A8EC-DCC257BC97B4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93958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60898B-D230-431A-B612-35942A51CE0E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47056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F23D6A-6E00-49C9-93C7-ABB2D37E9337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5248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79FD1FD-F492-4A76-8EFD-D4B40D2B5F30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1A66E9E2-6135-45EE-A725-4737645E9C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1800"/>
              </a:spcBef>
              <a:defRPr/>
            </a:lvl1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8988693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F8171D3-9408-47FF-A009-B088D4C7802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30001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00899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81A2ECC-EF12-47C0-BB02-A13425EC4885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12489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069C5-2641-4C32-8B1F-B8EDB775FB6E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50777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6244D7-2F2A-4551-ACC6-631ADDBBA815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21681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547" y="593367"/>
            <a:ext cx="11359321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547" y="1536633"/>
            <a:ext cx="11359321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478" lvl="0" indent="-457108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8956" lvl="1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434" lvl="2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7912" lvl="3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390" lvl="4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6868" lvl="5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6346" lvl="6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5824" lvl="7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5302" lvl="8" indent="-423249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5140" y="6217623"/>
            <a:ext cx="73150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98446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429372"/>
              </p:ext>
            </p:extLst>
          </p:nvPr>
        </p:nvGraphicFramePr>
        <p:xfrm>
          <a:off x="1595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1" name="Titelplatzhalter 4">
            <a:extLst>
              <a:ext uri="{FF2B5EF4-FFF2-40B4-BE49-F238E27FC236}">
                <a16:creationId xmlns:a16="http://schemas.microsoft.com/office/drawing/2014/main" id="{390C50A9-9D78-4408-AB40-1FB2076869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A07997-FD75-45CF-9C95-3E73EED606D8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685A2C7-DF3B-438A-8442-95E80DFD3B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47" y="1964570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5808614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5B963744-D347-442B-99B9-B49C2ABF8B9C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18852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306165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3D14BB7-CD28-43C3-82DC-0F0AF0BF16E4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19983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B5C8F2-4E29-411C-8386-62E6823BD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FE86E8D-363F-421C-B5F5-129FE9CBD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4D7A58A-49CA-486B-8C62-F0B158F4E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F35975-765B-485B-B75A-D55105CF4D22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C2455F3-6242-4D58-93DB-047FD8C37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 Optionale Zusatzinformation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C58AB13-34C3-4C8E-9546-F97F3FAE69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DFA454-350A-43DB-BE0E-B07171D620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77698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64AC1E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520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063" y="1577340"/>
            <a:ext cx="5302830" cy="312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2698">
              <a:spcBef>
                <a:spcPts val="15"/>
              </a:spcBef>
              <a:tabLst>
                <a:tab pos="893902" algn="l"/>
              </a:tabLst>
            </a:pPr>
            <a:r>
              <a:rPr lang="en-US"/>
              <a:t>|  Optionale Zusatzinformatione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4C939D-F5EF-484C-852B-3CC66D607E36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25394">
              <a:spcBef>
                <a:spcPts val="15"/>
              </a:spcBef>
            </a:pPr>
            <a:fld id="{81D60167-4931-47E6-BA6A-407CBD079E47}" type="slidenum">
              <a:rPr lang="de-DE" smtClean="0"/>
              <a:pPr marL="25394">
                <a:spcBef>
                  <a:spcPts val="15"/>
                </a:spcBef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710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5">
            <a:extLst>
              <a:ext uri="{FF2B5EF4-FFF2-40B4-BE49-F238E27FC236}">
                <a16:creationId xmlns:a16="http://schemas.microsoft.com/office/drawing/2014/main" id="{E6D135D1-47B1-4DB6-993F-49D4B2603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BB2CFC0-ED3D-4C6A-A847-5CD15D45E39A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8" name="Fußzeilenplatzhalter 6">
            <a:extLst>
              <a:ext uri="{FF2B5EF4-FFF2-40B4-BE49-F238E27FC236}">
                <a16:creationId xmlns:a16="http://schemas.microsoft.com/office/drawing/2014/main" id="{F253D08C-15C0-4E03-B579-BF15B9227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9" name="Foliennummernplatzhalter 7">
            <a:extLst>
              <a:ext uri="{FF2B5EF4-FFF2-40B4-BE49-F238E27FC236}">
                <a16:creationId xmlns:a16="http://schemas.microsoft.com/office/drawing/2014/main" id="{24ECFC98-7F84-4AE4-9E8A-74583DFAC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itelplatzhalter 4">
            <a:extLst>
              <a:ext uri="{FF2B5EF4-FFF2-40B4-BE49-F238E27FC236}">
                <a16:creationId xmlns:a16="http://schemas.microsoft.com/office/drawing/2014/main" id="{1FB7291B-6199-4BA2-BAC7-53D8CF219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969299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547" y="593367"/>
            <a:ext cx="11359321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547" y="1536633"/>
            <a:ext cx="11359321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478" lvl="0" indent="-457108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8956" lvl="1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434" lvl="2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7912" lvl="3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390" lvl="4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6868" lvl="5" indent="-423249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6346" lvl="6" indent="-423249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5824" lvl="7" indent="-423249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5302" lvl="8" indent="-423249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5140" y="6217623"/>
            <a:ext cx="731505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-GB" smtClean="0"/>
              <a:pPr algn="r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92577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A8E6BF-CDDE-4BBA-B7C7-CD86C7261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FC1550A-B9C7-4F29-A06E-E6249E7B3610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6" y="1965579"/>
            <a:ext cx="580009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7FDF47-10EC-4B98-BEFE-5F17608FD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3" y="1965579"/>
            <a:ext cx="5800097" cy="3906012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8B4501-4886-4F90-AABA-29D3BFD597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B037D59-CDCB-4605-A031-5C299A6851E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08FC77F4-C0E1-46BC-9769-752E8A7EAD95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62E148D-DA16-4D47-86F8-5AC4C3F0B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2978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A20C19A-AB9C-4DEF-A1F9-3FD2E4562D53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8476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AE6E8A-5BA7-486D-B947-003A611BE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abellenplatzhalter 2">
            <a:extLst>
              <a:ext uri="{FF2B5EF4-FFF2-40B4-BE49-F238E27FC236}">
                <a16:creationId xmlns:a16="http://schemas.microsoft.com/office/drawing/2014/main" id="{929C18BF-1B0A-4AB1-9EE5-095436AB506C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tabl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05E60-490C-4331-A427-E892863F6E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1CD60CA-E7F1-42CF-8422-C37F5528F46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6D01CCB2-E5C6-4B0F-AE3E-367FDAB6647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F2BE9BB-1EE3-4AE2-8BF7-B88FBE873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679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570CFC-19A3-4FC1-8679-96D023530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9065C2F-7019-46C6-80C2-90C127178AB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iagrammplatzhalter 3">
            <a:extLst>
              <a:ext uri="{FF2B5EF4-FFF2-40B4-BE49-F238E27FC236}">
                <a16:creationId xmlns:a16="http://schemas.microsoft.com/office/drawing/2014/main" id="{88B10754-5428-423A-93CA-445D5DE8B485}"/>
              </a:ext>
            </a:extLst>
          </p:cNvPr>
          <p:cNvSpPr>
            <a:spLocks noGrp="1"/>
          </p:cNvSpPr>
          <p:nvPr>
            <p:ph type="chart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15BF5D-3067-4438-8FD2-AB351B3A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8593090-51CA-4CA4-8050-35DEF5113D5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5A2CE7F-89BB-4704-B5C6-766458C9AC4D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8686210-6ED2-4620-8AD0-9A0AECDE2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78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39942-E2E1-4118-934D-4EDEBD705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EFA9D9D7-18E2-4D2F-97C2-B5B56484A2CC}"/>
              </a:ext>
            </a:extLst>
          </p:cNvPr>
          <p:cNvSpPr>
            <a:spLocks noGrp="1"/>
          </p:cNvSpPr>
          <p:nvPr>
            <p:ph type="chart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7270A36-07B9-4B5B-8EA5-FC4A36502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35D6173-567C-4DF7-8E5A-2F4401EC5B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9182B75-E9DD-4C82-8759-EC7BCDD889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20B2AE86-EF78-4E3C-9AE7-43A928959857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53177F6-3049-4C1A-BBCE-63A3197B4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2551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397F078-4BE0-4FCC-A4F6-3F47654B1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martArt-Platzhalter 2">
            <a:extLst>
              <a:ext uri="{FF2B5EF4-FFF2-40B4-BE49-F238E27FC236}">
                <a16:creationId xmlns:a16="http://schemas.microsoft.com/office/drawing/2014/main" id="{59842522-B689-4429-8668-A12EAE0FF73B}"/>
              </a:ext>
            </a:extLst>
          </p:cNvPr>
          <p:cNvSpPr>
            <a:spLocks noGrp="1"/>
          </p:cNvSpPr>
          <p:nvPr>
            <p:ph type="dgm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SmartArt graphic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E2008AD-EC4B-49B9-92D6-1B8D349A63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2C8BA3A-C496-4C05-B63D-8AB93B2B95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25C0208-00EA-448A-B2F4-BD4AC3EC9FD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2D12463-DC1C-4D03-BD29-5BAED0450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3162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1F22-9201-4312-82BB-977424A9F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B4E2F07-E33A-4677-B67C-2A8D3D8F588D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59A8878-DBD1-4A55-8181-4E9D32DD38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5FA3F9-A4B2-4E51-BF05-870A2E945102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9E588A6-DBF4-4367-88D4-E0BFFC26A57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E24E94-7A64-4263-93F5-D84EB45D4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1416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7C4215-C923-45A6-BD7C-721C7241C5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A2C6217-C13F-461A-A85F-6657A808B90C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Onlinebild-Platzhalter 3">
            <a:extLst>
              <a:ext uri="{FF2B5EF4-FFF2-40B4-BE49-F238E27FC236}">
                <a16:creationId xmlns:a16="http://schemas.microsoft.com/office/drawing/2014/main" id="{1D81F6CB-E450-4174-819C-3B0BDBCDE027}"/>
              </a:ext>
            </a:extLst>
          </p:cNvPr>
          <p:cNvSpPr>
            <a:spLocks noGrp="1"/>
          </p:cNvSpPr>
          <p:nvPr>
            <p:ph type="clipArt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1F65BB-69FE-4D49-A6E4-4546478BC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5A38E248-9E58-4FBF-9D61-9EE23C39BB3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8679EB05-CBCF-461B-B1F1-ECB457D6865C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89B81A-4E05-43F4-AA44-F33F1430D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745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08889C-9108-4E11-B334-A27EA54A23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Onlinebild-Platzhalter 2">
            <a:extLst>
              <a:ext uri="{FF2B5EF4-FFF2-40B4-BE49-F238E27FC236}">
                <a16:creationId xmlns:a16="http://schemas.microsoft.com/office/drawing/2014/main" id="{B7775F34-407A-48B2-9B1C-A932A0181C2A}"/>
              </a:ext>
            </a:extLst>
          </p:cNvPr>
          <p:cNvSpPr>
            <a:spLocks noGrp="1"/>
          </p:cNvSpPr>
          <p:nvPr>
            <p:ph type="clipArt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online image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37A6B39-BF7A-4209-AA3A-273F9245517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B3E23DC-3384-47E5-BCB1-F2B7270A9F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B0F7007C-89FE-4D34-A5F7-11B79EA1284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59612C9-4467-40A5-BAED-9B42E2A3966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E62410-A838-493D-B4DF-071E984717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6349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7B3744F5-4995-4039-9E0A-8778054F41B2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75392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2C311A3-E9FC-4FEA-B0C9-E0A74859FCD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1981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08E9903-ECD7-4C58-9A4B-8CEC2A2257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AC508E-137C-4416-908D-2B01A21EC73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8E3ABC1-B366-4700-9028-14CED6F2AA76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CAAE8AB-52F8-43B0-B5A9-664FB525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4090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F2ABAC-561F-4606-A67C-1A5594202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3ED3FFE-CF79-4687-A078-C8E44A073B73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BB7FF96-6611-4D4F-BCB0-01C1D31D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020A3C-5997-4241-9E93-5058EC012B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AF161C-F4A7-4A48-827F-5711D99E558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7B399EE-799B-4BE8-B627-DED75DEECDA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11C8A-7FBB-42B8-812F-9D3862E75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22158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A809E2-FF1C-4220-B806-F7A2CBB4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4C654F8-BF58-4B3A-B336-3629ECE45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2C4920-9938-4405-8A15-1CF4F1C909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7968547-6C9A-4A3F-9DF5-C094BF63FF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687ABFE-CCFA-4A9B-8529-F93712327C0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E1A8AF23-A868-48B4-AC54-768CA2C25AF8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B3FE862-F243-4638-A6BB-CD8B4AFF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2990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2CE1D32-E21C-47EA-A87F-E9B77F368C63}"/>
              </a:ext>
            </a:extLst>
          </p:cNvPr>
          <p:cNvSpPr>
            <a:spLocks noGrp="1"/>
          </p:cNvSpPr>
          <p:nvPr>
            <p:ph/>
          </p:nvPr>
        </p:nvSpPr>
        <p:spPr>
          <a:xfrm>
            <a:off x="212317" y="431801"/>
            <a:ext cx="11752447" cy="54403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63ECE-AB9D-4E37-B422-CC40B5272E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656F73E-08AD-4984-AA4D-6A2047EA123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8A2AF13-2697-4C7C-B316-36CBBA36030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563ACE-B651-45D5-BB34-3B368EE91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03349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080E89-1E40-4B0D-BD55-CBE3C39C6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353CF28-13C9-4E5C-9A41-1F6D684F3F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55761B-B9A2-4920-9B0D-35C5A79C73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F670AE4-0FCB-4883-B7E4-B5754A2694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AA0706E7-AA8D-438B-91E2-0F70FA550069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045A95C-6833-4457-B077-68A9637FCA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9959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A26DD6-5478-44D5-9C22-EA6102171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DDA7DB3-D147-40F5-A85A-F22CDDCC7764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60A14105-87B3-4C57-AD70-C6D6EB6C2BD5}"/>
              </a:ext>
            </a:extLst>
          </p:cNvPr>
          <p:cNvSpPr>
            <a:spLocks noGrp="1"/>
          </p:cNvSpPr>
          <p:nvPr>
            <p:ph type="media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6468F25-440D-4B20-B43E-2906F5F245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574263A-04B4-4BB1-BA72-C60C07FA968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42D0D7D-9DBC-4F07-8236-4C499D4D1A4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444941E-A04D-406F-897B-1CB8D8B4F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6087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39877-D01C-4856-BA52-624F29B86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44221E77-11E0-4F51-8A81-F543833C9E60}"/>
              </a:ext>
            </a:extLst>
          </p:cNvPr>
          <p:cNvSpPr>
            <a:spLocks noGrp="1"/>
          </p:cNvSpPr>
          <p:nvPr>
            <p:ph type="media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media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109FC1F-991B-4A03-80B8-3A8A5F2D07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1A9557-B4F9-4FC2-9332-363ACA4D445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95E73B0-6F01-42C0-B398-DB7C7D7E05A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E87DB01B-A22A-4BDA-A007-DAF6A35D8C4C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FAA16F-81A1-4CEB-8939-4AA044CB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9844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735A7-B28E-4745-8655-C9999B011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35637BB-60B1-4488-8CF1-E3F06D5EBE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2317" y="1965579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4D5F2FC-4B25-456C-A90C-64CEA05B29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BD6C371-FE65-4294-97AD-25A76E9781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FC86BFFF-93A4-440C-B3C4-802614E81B7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E88DDC47-F8E2-430F-B334-AC594F76AD0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2C8699-C73C-4568-AB42-D32BC3096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66941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B682FF-DD0C-46E2-8C1C-A06AF64F5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DD7F0EF-78BF-43F5-9C29-474B537D6FB6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7" y="1965579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F11F21-0ACE-496A-A93D-B817BF62CF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F9D28A9-F404-4434-9C9A-358402724C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06E3F372-F58D-4CA4-BFB3-29426E8445D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0D2D2371-AEFB-4FF5-99B0-5CD30EA5F2BD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8C92BCB-A68D-4FE6-8DC3-18BD6C232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409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96C7B17E-3887-4646-8DE1-A39E0C268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01594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96C7B17E-3887-4646-8DE1-A39E0C268E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C30B0DDB-533C-488B-934D-6D258F7A5A2A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06465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6A49E15-3CC2-4EE0-92C8-91165D511D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50D0BD-1B65-4BC9-A974-4C55A3FDEF28}"/>
              </a:ext>
            </a:extLst>
          </p:cNvPr>
          <p:cNvSpPr>
            <a:spLocks noGrp="1"/>
          </p:cNvSpPr>
          <p:nvPr>
            <p:ph type="body" sz="half" idx="1"/>
          </p:nvPr>
        </p:nvSpPr>
        <p:spPr>
          <a:xfrm>
            <a:off x="212315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E89BA9B-96E6-486F-AB64-EA38AC71B787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E3A62A82-A2FB-4831-BF8E-0B8D27882DE9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6164792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7E8A134-6B88-4B2A-AE42-C5C2DE4BCF9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C573FE7-AAD9-4572-A337-5461F2423AC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D72EBBE7-F922-42E5-8475-742B1477F274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FF6D4B64-4848-48B9-9A84-A7C7BFCD31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7103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2CBFF9-6AA9-4135-B013-124136065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A8C003F-FDE2-4BCD-8446-E93BA74B902B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AF8FA0B-2B73-4F9E-8421-B7FAA861D2BC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212315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A06705-80A7-42BF-B2C5-248EA2910CCE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6164792" y="1965579"/>
            <a:ext cx="580009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8651DD0-4839-47C9-A9A9-3F5056FFCB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38323B6D-9603-4517-B425-10C069E2500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8CBF80C-9A98-4633-B244-65795CA17E8F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FD5DC-90F2-4A91-AE88-C9A9192A2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7232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 und 2 Inhalte üb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2E6BCF-F13B-4DAE-838C-D4CFDC5436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E4072EF-C701-4F8C-9B31-1260A74B6366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5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516D008-2F5C-4820-A061-6C39F314126D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2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E0CE585-CC58-4405-A5B2-4146F97E314D}"/>
              </a:ext>
            </a:extLst>
          </p:cNvPr>
          <p:cNvSpPr>
            <a:spLocks noGrp="1"/>
          </p:cNvSpPr>
          <p:nvPr>
            <p:ph type="body" sz="half" idx="3"/>
          </p:nvPr>
        </p:nvSpPr>
        <p:spPr>
          <a:xfrm>
            <a:off x="212317" y="3994785"/>
            <a:ext cx="1175244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156A72-D8B4-4EB6-8FFB-61C9B44B1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0EFBFB9-D2F6-40AF-BCCC-A2A94354C2D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B41DED0E-01CE-4A23-801E-AA1152EE94E7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28F30A4-BEA8-4D3F-B414-562C963D8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6994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E88C9-2E13-4233-97E7-A58EA56BF533}"/>
              </a:ext>
            </a:extLst>
          </p:cNvPr>
          <p:cNvSpPr>
            <a:spLocks noGrp="1"/>
          </p:cNvSpPr>
          <p:nvPr>
            <p:ph type="title" sz="quarter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D7B31FC-3EB7-4237-9F75-E570D381E0FE}"/>
              </a:ext>
            </a:extLst>
          </p:cNvPr>
          <p:cNvSpPr>
            <a:spLocks noGrp="1"/>
          </p:cNvSpPr>
          <p:nvPr>
            <p:ph sz="quarter" idx="1"/>
          </p:nvPr>
        </p:nvSpPr>
        <p:spPr>
          <a:xfrm>
            <a:off x="212316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8A8875F-CFAA-4590-B879-3219CBD4BB93}"/>
              </a:ext>
            </a:extLst>
          </p:cNvPr>
          <p:cNvSpPr>
            <a:spLocks noGrp="1"/>
          </p:cNvSpPr>
          <p:nvPr>
            <p:ph sz="quarter" idx="2"/>
          </p:nvPr>
        </p:nvSpPr>
        <p:spPr>
          <a:xfrm>
            <a:off x="6164793" y="1965579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A4CB87F-0C22-4934-8CA1-76F88C95A477}"/>
              </a:ext>
            </a:extLst>
          </p:cNvPr>
          <p:cNvSpPr>
            <a:spLocks noGrp="1"/>
          </p:cNvSpPr>
          <p:nvPr>
            <p:ph sz="quarter" idx="3"/>
          </p:nvPr>
        </p:nvSpPr>
        <p:spPr>
          <a:xfrm>
            <a:off x="212316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020373-3ACB-4F0F-B502-F1E7C40F6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4793" y="3994785"/>
            <a:ext cx="5800097" cy="1876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7AE7A61-0107-4725-BF07-B2F2AA6714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42470242-CC3A-40B7-95C1-B059AF43DE2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978EE174-72E4-4DDB-8117-3796E22C9583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F8F0835-9080-41B3-9513-4B6330021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00485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9510CF-0164-4CE7-BB77-35FCBFBCB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54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9510CF-0164-4CE7-BB77-35FCBFBCB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5E8A882-7228-494E-A739-6FFEAECC4B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A75F717-0924-450B-AB45-2C36CAF5B3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elmasterformat durch Klicken bearbeit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Datumsplatzhalter 5">
            <a:extLst>
              <a:ext uri="{FF2B5EF4-FFF2-40B4-BE49-F238E27FC236}">
                <a16:creationId xmlns:a16="http://schemas.microsoft.com/office/drawing/2014/main" id="{207FA06C-AE67-4E7E-BEA0-24121E9C2E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524BAFF-3B88-4925-BF91-DCAB7A197000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5" name="Fußzeilenplatzhalter 6">
            <a:extLst>
              <a:ext uri="{FF2B5EF4-FFF2-40B4-BE49-F238E27FC236}">
                <a16:creationId xmlns:a16="http://schemas.microsoft.com/office/drawing/2014/main" id="{99F31721-DBA7-4699-B2BA-095186DDCD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525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</p:spTree>
    <p:extLst>
      <p:ext uri="{BB962C8B-B14F-4D97-AF65-F5344CB8AC3E}">
        <p14:creationId xmlns:p14="http://schemas.microsoft.com/office/powerpoint/2010/main" val="377669210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F660DA1-61DC-4071-949F-2490A6E47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83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F660DA1-61DC-4071-949F-2490A6E47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DB0186E-5E90-4F63-80A1-ACD2F73A7B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Titelplatzhalter 4">
            <a:extLst>
              <a:ext uri="{FF2B5EF4-FFF2-40B4-BE49-F238E27FC236}">
                <a16:creationId xmlns:a16="http://schemas.microsoft.com/office/drawing/2014/main" id="{C0A31ACE-30AE-4171-866B-D1CD7752E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elmasterformat durch Klicken bearbeiten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360179A2-848E-475E-9F7B-A5CB8E6D7C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39DEDDBF-DD66-4BF7-828F-C4FA20BE6B53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0BF667F5-BBB1-4863-AB18-DCB0D6A554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525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F297F041-07EC-4C87-A9B7-94576282F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1715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3D6892F-D85F-49CC-B5EC-20E7BCAF90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6855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3D6892F-D85F-49CC-B5EC-20E7BCAF9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7996875-C952-472A-98B6-18DE14075221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446FF30-7FF5-4479-AF8A-C92AD61942D4}"/>
              </a:ext>
            </a:extLst>
          </p:cNvPr>
          <p:cNvSpPr/>
          <p:nvPr userDrawn="1"/>
        </p:nvSpPr>
        <p:spPr>
          <a:xfrm>
            <a:off x="0" y="1944000"/>
            <a:ext cx="6096098" cy="388843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1" name="Textplatzhalter 40">
            <a:extLst>
              <a:ext uri="{FF2B5EF4-FFF2-40B4-BE49-F238E27FC236}">
                <a16:creationId xmlns:a16="http://schemas.microsoft.com/office/drawing/2014/main" id="{AE061772-9895-4477-BF38-80A92839E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968002"/>
            <a:ext cx="5443762" cy="43313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>
                <a:solidFill>
                  <a:schemeClr val="accent1"/>
                </a:solidFill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Ludwigshafen, 26.05.2017</a:t>
            </a:r>
          </a:p>
        </p:txBody>
      </p:sp>
      <p:sp>
        <p:nvSpPr>
          <p:cNvPr id="12" name="Titel 5">
            <a:extLst>
              <a:ext uri="{FF2B5EF4-FFF2-40B4-BE49-F238E27FC236}">
                <a16:creationId xmlns:a16="http://schemas.microsoft.com/office/drawing/2014/main" id="{0A31E731-3C67-4857-9C20-5143CDA21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2341404"/>
            <a:ext cx="5443762" cy="251613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 sz="3200"/>
              <a:t>Lorem Ipsum dolormit</a:t>
            </a:r>
            <a:br>
              <a:rPr lang="en-US" sz="3200"/>
            </a:br>
            <a:r>
              <a:rPr lang="en-US" sz="3200"/>
              <a:t>amet avensis tusa.</a:t>
            </a:r>
            <a:endParaRPr lang="en-US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FEE3FCC6-F26E-49CF-83A0-FF64244D8C4D}"/>
              </a:ext>
            </a:extLst>
          </p:cNvPr>
          <p:cNvGrpSpPr/>
          <p:nvPr userDrawn="1"/>
        </p:nvGrpSpPr>
        <p:grpSpPr>
          <a:xfrm>
            <a:off x="0" y="864000"/>
            <a:ext cx="6096098" cy="1080000"/>
            <a:chOff x="16241308" y="3368287"/>
            <a:chExt cx="6096098" cy="1080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D02F0CD7-99B7-491A-847B-41E83BCC95AF}"/>
                </a:ext>
              </a:extLst>
            </p:cNvPr>
            <p:cNvSpPr/>
            <p:nvPr userDrawn="1"/>
          </p:nvSpPr>
          <p:spPr>
            <a:xfrm>
              <a:off x="16241308" y="3368287"/>
              <a:ext cx="6096098" cy="108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5825B54F-48EC-475F-A575-EF1AE0611A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462922" y="3641970"/>
              <a:ext cx="1619425" cy="5867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200269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C5CC59-BC4F-4F35-899E-066A75D69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1FEAD91-A51C-43CD-8E4C-904A8749BF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6943F05-466E-47EB-A4DF-79F7329DE7A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088747F5-414D-45F4-B7C4-589F68EA723E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AAA4A8E-EFEB-4FA3-B265-63AFB7519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31242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4EE502-26F1-4C14-8006-E86D8F1E9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049500F-CC95-49B3-830F-417100FC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18" y="1965579"/>
            <a:ext cx="11752447" cy="39060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C95302F-267A-4618-91A0-E4C43D68A4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337AE33-605D-4070-AE5D-63D17AF9551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14DDA0DE-3F36-4545-BA37-2F8F30E94BFA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2BBEB6-46D3-4689-9C2A-D1A144321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30927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54984BF-E135-416E-A59B-64CCA6AD78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174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54984BF-E135-416E-A59B-64CCA6AD78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4">
            <a:extLst>
              <a:ext uri="{FF2B5EF4-FFF2-40B4-BE49-F238E27FC236}">
                <a16:creationId xmlns:a16="http://schemas.microsoft.com/office/drawing/2014/main" id="{0538B6D2-C2F1-4747-BF07-81277F9118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rtl="0"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30714BB5-5B15-4044-95BB-D1198A687A7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rtl="0">
              <a:spcBef>
                <a:spcPts val="1800"/>
              </a:spcBef>
              <a:buClr>
                <a:schemeClr val="accent1"/>
              </a:buClr>
              <a:defRPr/>
            </a:lvl1pPr>
            <a:lvl2pPr marL="719138" indent="-452438" rtl="0">
              <a:buClr>
                <a:schemeClr val="accent1"/>
              </a:buClr>
              <a:defRPr/>
            </a:lvl2pPr>
            <a:lvl3pPr rtl="0">
              <a:buClr>
                <a:schemeClr val="accent1"/>
              </a:buClr>
              <a:defRPr/>
            </a:lvl3pPr>
            <a:lvl4pPr rtl="0">
              <a:buClr>
                <a:schemeClr val="accent1"/>
              </a:buClr>
              <a:defRPr/>
            </a:lvl4pPr>
          </a:lstStyle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s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</p:txBody>
      </p:sp>
      <p:sp>
        <p:nvSpPr>
          <p:cNvPr id="9" name="Datumsplatzhalter 5">
            <a:extLst>
              <a:ext uri="{FF2B5EF4-FFF2-40B4-BE49-F238E27FC236}">
                <a16:creationId xmlns:a16="http://schemas.microsoft.com/office/drawing/2014/main" id="{2E2C4AE6-C3E1-43A4-BAE5-1315CB9688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89A311A0-3797-4508-BA70-F3BDAA5E8ED4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0" name="Fußzeilenplatzhalter 6">
            <a:extLst>
              <a:ext uri="{FF2B5EF4-FFF2-40B4-BE49-F238E27FC236}">
                <a16:creationId xmlns:a16="http://schemas.microsoft.com/office/drawing/2014/main" id="{3B8C9186-B6AC-43D2-8977-2776DEB0ED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</a:t>
            </a:r>
            <a:r>
              <a:rPr lang="en-US" err="1"/>
              <a:t>Zusatzinformationen</a:t>
            </a:r>
            <a:endParaRPr lang="en-US"/>
          </a:p>
        </p:txBody>
      </p:sp>
      <p:sp>
        <p:nvSpPr>
          <p:cNvPr id="11" name="Foliennummernplatzhalter 7">
            <a:extLst>
              <a:ext uri="{FF2B5EF4-FFF2-40B4-BE49-F238E27FC236}">
                <a16:creationId xmlns:a16="http://schemas.microsoft.com/office/drawing/2014/main" id="{6106E3A7-16DF-44A3-85AC-6404C38176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9781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62.xml"/><Relationship Id="rId7" Type="http://schemas.openxmlformats.org/officeDocument/2006/relationships/theme" Target="../theme/theme10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oleObject" Target="../embeddings/oleObject18.bin"/><Relationship Id="rId5" Type="http://schemas.openxmlformats.org/officeDocument/2006/relationships/slideLayout" Target="../slideLayouts/slideLayout64.xml"/><Relationship Id="rId10" Type="http://schemas.openxmlformats.org/officeDocument/2006/relationships/tags" Target="../tags/tag44.xml"/><Relationship Id="rId4" Type="http://schemas.openxmlformats.org/officeDocument/2006/relationships/slideLayout" Target="../slideLayouts/slideLayout63.xml"/><Relationship Id="rId9" Type="http://schemas.openxmlformats.org/officeDocument/2006/relationships/tags" Target="../tags/tag4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slideLayout" Target="../slideLayouts/slideLayout68.xml"/><Relationship Id="rId7" Type="http://schemas.openxmlformats.org/officeDocument/2006/relationships/vmlDrawing" Target="../drawings/vmlDrawing21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heme" Target="../theme/theme11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21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4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tags" Target="../tags/tag51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vmlDrawing" Target="../drawings/vmlDrawing23.v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image" Target="../media/image11.emf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oleObject" Target="../embeddings/oleObject23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slideLayout" Target="../slideLayouts/slideLayout96.xml"/><Relationship Id="rId7" Type="http://schemas.openxmlformats.org/officeDocument/2006/relationships/tags" Target="../tags/tag53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tags" Target="../tags/tag52.xml"/><Relationship Id="rId5" Type="http://schemas.openxmlformats.org/officeDocument/2006/relationships/vmlDrawing" Target="../drawings/vmlDrawing24.vml"/><Relationship Id="rId10" Type="http://schemas.openxmlformats.org/officeDocument/2006/relationships/image" Target="../media/image5.png"/><Relationship Id="rId4" Type="http://schemas.openxmlformats.org/officeDocument/2006/relationships/theme" Target="../theme/theme13.xml"/><Relationship Id="rId9" Type="http://schemas.openxmlformats.org/officeDocument/2006/relationships/image" Target="../media/image12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4.xml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oleObject" Target="../embeddings/oleObject28.bin"/><Relationship Id="rId5" Type="http://schemas.openxmlformats.org/officeDocument/2006/relationships/tags" Target="../tags/tag60.xml"/><Relationship Id="rId4" Type="http://schemas.openxmlformats.org/officeDocument/2006/relationships/vmlDrawing" Target="../drawings/vmlDrawing28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101.xml"/><Relationship Id="rId7" Type="http://schemas.openxmlformats.org/officeDocument/2006/relationships/oleObject" Target="../embeddings/oleObject29.bin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ags" Target="../tags/tag61.xml"/><Relationship Id="rId5" Type="http://schemas.openxmlformats.org/officeDocument/2006/relationships/vmlDrawing" Target="../drawings/vmlDrawing29.vml"/><Relationship Id="rId4" Type="http://schemas.openxmlformats.org/officeDocument/2006/relationships/theme" Target="../theme/theme15.xml"/><Relationship Id="rId9" Type="http://schemas.openxmlformats.org/officeDocument/2006/relationships/image" Target="../media/image5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heme" Target="../theme/theme16.xml"/><Relationship Id="rId7" Type="http://schemas.openxmlformats.org/officeDocument/2006/relationships/image" Target="../media/image13.emf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oleObject" Target="../embeddings/oleObject33.bin"/><Relationship Id="rId5" Type="http://schemas.openxmlformats.org/officeDocument/2006/relationships/tags" Target="../tags/tag65.xml"/><Relationship Id="rId4" Type="http://schemas.openxmlformats.org/officeDocument/2006/relationships/vmlDrawing" Target="../drawings/vmlDrawing33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4.v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6.xml"/><Relationship Id="rId7" Type="http://schemas.openxmlformats.org/officeDocument/2006/relationships/theme" Target="../theme/theme17.xml"/><Relationship Id="rId12" Type="http://schemas.openxmlformats.org/officeDocument/2006/relationships/image" Target="../media/image15.emf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oleObject" Target="../embeddings/oleObject34.bin"/><Relationship Id="rId5" Type="http://schemas.openxmlformats.org/officeDocument/2006/relationships/slideLayout" Target="../slideLayouts/slideLayout108.xml"/><Relationship Id="rId10" Type="http://schemas.openxmlformats.org/officeDocument/2006/relationships/tags" Target="../tags/tag67.xml"/><Relationship Id="rId4" Type="http://schemas.openxmlformats.org/officeDocument/2006/relationships/slideLayout" Target="../slideLayouts/slideLayout107.xml"/><Relationship Id="rId9" Type="http://schemas.openxmlformats.org/officeDocument/2006/relationships/tags" Target="../tags/tag66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9.vml"/><Relationship Id="rId7" Type="http://schemas.openxmlformats.org/officeDocument/2006/relationships/image" Target="../media/image5.png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9.bin"/><Relationship Id="rId4" Type="http://schemas.openxmlformats.org/officeDocument/2006/relationships/tags" Target="../tags/tag76.xml"/></Relationships>
</file>

<file path=ppt/slideMasters/_rels/slideMaster1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34" Type="http://schemas.openxmlformats.org/officeDocument/2006/relationships/image" Target="../media/image16.emf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oleObject" Target="../embeddings/oleObject41.bin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29" Type="http://schemas.openxmlformats.org/officeDocument/2006/relationships/theme" Target="../theme/theme19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tags" Target="../tags/tag79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tags" Target="../tags/tag78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vmlDrawing" Target="../drawings/vmlDrawing41.vml"/><Relationship Id="rId35" Type="http://schemas.openxmlformats.org/officeDocument/2006/relationships/image" Target="../media/image5.png"/><Relationship Id="rId8" Type="http://schemas.openxmlformats.org/officeDocument/2006/relationships/slideLayout" Target="../slideLayouts/slideLayout1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3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heme" Target="../theme/theme20.xml"/><Relationship Id="rId7" Type="http://schemas.openxmlformats.org/officeDocument/2006/relationships/oleObject" Target="../embeddings/oleObject45.bin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ags" Target="../tags/tag89.xml"/><Relationship Id="rId5" Type="http://schemas.openxmlformats.org/officeDocument/2006/relationships/tags" Target="../tags/tag88.xml"/><Relationship Id="rId4" Type="http://schemas.openxmlformats.org/officeDocument/2006/relationships/vmlDrawing" Target="../drawings/vmlDrawing45.vml"/><Relationship Id="rId9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5.png"/><Relationship Id="rId5" Type="http://schemas.openxmlformats.org/officeDocument/2006/relationships/theme" Target="../theme/theme3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4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8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5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24.xml"/><Relationship Id="rId7" Type="http://schemas.openxmlformats.org/officeDocument/2006/relationships/vmlDrawing" Target="../drawings/vmlDrawing11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6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26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9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oleObject" Target="../embeddings/oleObject13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36.xml"/><Relationship Id="rId30" Type="http://schemas.openxmlformats.org/officeDocument/2006/relationships/image" Target="../media/image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slideLayout" Target="../slideLayouts/slideLayout53.xml"/><Relationship Id="rId7" Type="http://schemas.openxmlformats.org/officeDocument/2006/relationships/vmlDrawing" Target="../drawings/vmlDrawing14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8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55.xml"/><Relationship Id="rId10" Type="http://schemas.openxmlformats.org/officeDocument/2006/relationships/oleObject" Target="../embeddings/oleObject14.bin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3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40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16.vml"/><Relationship Id="rId11" Type="http://schemas.openxmlformats.org/officeDocument/2006/relationships/image" Target="../media/image5.png"/><Relationship Id="rId5" Type="http://schemas.openxmlformats.org/officeDocument/2006/relationships/theme" Target="../theme/theme9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4456804-CA15-4739-942D-86AAE41F4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790963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9" imgW="530" imgH="528" progId="TCLayout.ActiveDocument.1">
                  <p:embed/>
                </p:oleObj>
              </mc:Choice>
              <mc:Fallback>
                <p:oleObj name="think-cell Slide" r:id="rId9" imgW="530" imgH="52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4456804-CA15-4739-942D-86AAE41F4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umsplatzhalter 5">
            <a:extLst>
              <a:ext uri="{FF2B5EF4-FFF2-40B4-BE49-F238E27FC236}">
                <a16:creationId xmlns:a16="http://schemas.microsoft.com/office/drawing/2014/main" id="{457E8414-A3A3-4057-B52F-0FE6DDA42E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9D739D7-D14E-40BD-8BA6-632ECA1E84C1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2" name="Fußzeilenplatzhalter 6">
            <a:extLst>
              <a:ext uri="{FF2B5EF4-FFF2-40B4-BE49-F238E27FC236}">
                <a16:creationId xmlns:a16="http://schemas.microsoft.com/office/drawing/2014/main" id="{946FEFC6-F26C-42DA-AB01-38B71E157D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3" name="Foliennummernplatzhalter 7">
            <a:extLst>
              <a:ext uri="{FF2B5EF4-FFF2-40B4-BE49-F238E27FC236}">
                <a16:creationId xmlns:a16="http://schemas.microsoft.com/office/drawing/2014/main" id="{421DC6A9-BF5F-490C-8A16-4896718030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1F60A25E-8B63-4520-91C9-BE91E2C4B723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375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2" r:id="rId2"/>
    <p:sldLayoutId id="2147483723" r:id="rId3"/>
    <p:sldLayoutId id="2147483724" r:id="rId4"/>
    <p:sldLayoutId id="2147483725" r:id="rId5"/>
  </p:sldLayoutIdLst>
  <p:hf hdr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panose="05000000000000000000" pitchFamily="2" charset="2"/>
        <a:buChar char="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 3" panose="05040102010807070707" pitchFamily="18" charset="2"/>
        <a:buChar char="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panose="05000000000000000000" pitchFamily="2" charset="2"/>
        <a:buChar char="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–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 userDrawn="1">
          <p15:clr>
            <a:srgbClr val="F26B43"/>
          </p15:clr>
        </p15:guide>
        <p15:guide id="2" pos="143" userDrawn="1">
          <p15:clr>
            <a:srgbClr val="F26B43"/>
          </p15:clr>
        </p15:guide>
        <p15:guide id="3" pos="7536" userDrawn="1">
          <p15:clr>
            <a:srgbClr val="F26B43"/>
          </p15:clr>
        </p15:guide>
        <p15:guide id="4" orient="horz" pos="3838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6" orient="horz" pos="4178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8065671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1" imgW="443" imgH="444" progId="TCLayout.ActiveDocument.1">
                  <p:embed/>
                </p:oleObj>
              </mc:Choice>
              <mc:Fallback>
                <p:oleObj name="think-cell Slide" r:id="rId11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4CFC2F71-ADC5-4334-8B7F-1CD15B1BA51A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DE2F56F3-D994-4B2B-85AE-43CF0AAB8F9A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57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721963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0A14A54C-B5A0-4988-87C5-67E4A066E1F0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BD719C89-9B47-4ABE-B39C-93B09FF822D7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567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169CF8-2D22-4C5B-9DEA-256E15442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845401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169CF8-2D22-4C5B-9DEA-256E15442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2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1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2183F9D5-C23E-429A-AC60-92BA6AD4377B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1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F3E2CA98-4DED-468B-8B89-5CD527E34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094660-59BA-4C98-8469-E0EA6322A9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B7F0C2C8-8B4D-4766-A744-08137F964FAE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3291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66" indent="-341966" algn="l" defTabSz="914309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738" indent="-266373" algn="l" defTabSz="914309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910" indent="-277172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283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61F32E6-3CB9-44CC-8949-765CF3AC8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45809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61F32E6-3CB9-44CC-8949-765CF3AC8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C16D7E-C361-4D20-A9D6-F86907DD95EC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16" name="Datumsplatzhalter 5">
            <a:extLst>
              <a:ext uri="{FF2B5EF4-FFF2-40B4-BE49-F238E27FC236}">
                <a16:creationId xmlns:a16="http://schemas.microsoft.com/office/drawing/2014/main" id="{02298C25-EF6B-4917-9D74-3F7676F31B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EDE8133-7ED0-4254-A174-8DA3894632A9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7" name="Fußzeilenplatzhalter 6">
            <a:extLst>
              <a:ext uri="{FF2B5EF4-FFF2-40B4-BE49-F238E27FC236}">
                <a16:creationId xmlns:a16="http://schemas.microsoft.com/office/drawing/2014/main" id="{9A9A4613-D9CE-436B-89E4-740E1AFDA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8525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84A53A2F-9D33-4E96-A68B-27FA0CD287EC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443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169CF8-2D22-4C5B-9DEA-256E15442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6098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169CF8-2D22-4C5B-9DEA-256E15442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2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1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6E2AF074-A489-4C04-A66C-97907DA2ADC0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1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7" name="Gruppieren 6" hidden="1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 hidden="1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 hidden="1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F3E2CA98-4DED-468B-8B89-5CD527E347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9094660-59BA-4C98-8469-E0EA6322A9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3B13AA94-3901-4C2E-9A30-22DE53DF83C6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02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66" indent="-341966" algn="l" defTabSz="914309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738" indent="-266373" algn="l" defTabSz="914309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910" indent="-277172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283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0415DF1-5E1A-443C-93A8-7F3526165C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3529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0415DF1-5E1A-443C-93A8-7F3526165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7B6BC95-8EEB-4817-BBEE-BFB3C1456F30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2019ED6-12CF-4A62-86DE-85747B9226F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C10B800-1D38-4CC4-8BDB-98E1095D92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8ACE506A-0E4B-4DF0-9E21-2FB264D53D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1F6DD132-F336-4A89-BDDE-55D65C0AEB70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2A39E5B-DB5C-4AB3-829E-ED138EF14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93BAA22-3B96-4875-B441-E07DB937D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EDC1E47-FF61-41E0-9C92-E40774973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C9F4733D-C88A-4205-8841-88E70A657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3999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s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6C43693A-C2EA-44C7-A4B8-B3B66A7D5542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921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004A96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004A96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61950" algn="l" defTabSz="914400" rtl="0" eaLnBrk="1" fontAlgn="auto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004A96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31C9869-6D2E-4557-867B-91D62F6DB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66119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31C9869-6D2E-4557-867B-91D62F6DB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9CD66A13-9640-4F59-A8D6-A7E2733AAAFD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550" marR="0" lvl="1" indent="-360363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913" marR="0" lvl="2" indent="-360363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58775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68B5BFC3-F160-49C4-BE82-E3EE1F08BB56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3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550" marR="0" indent="-360363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913" marR="0" indent="-360363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58775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1AB2B1F-28E8-4FDF-B675-94123C2A0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78752114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11" imgW="383" imgH="384" progId="TCLayout.ActiveDocument.1">
                  <p:embed/>
                </p:oleObj>
              </mc:Choice>
              <mc:Fallback>
                <p:oleObj name="think-cell Slide" r:id="rId11" imgW="383" imgH="38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1AB2B1F-28E8-4FDF-B675-94123C2A0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25B57B1-9D95-4B28-98F6-2ADABC6BBD82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1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0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193B18F-DB0E-4F7F-88CF-0B8E10C6D233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0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7" y="430442"/>
            <a:ext cx="11736385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/>
        </p:nvSpPr>
        <p:spPr>
          <a:xfrm>
            <a:off x="5987006" y="6451322"/>
            <a:ext cx="21640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1"/>
              </a:spcBef>
              <a:spcAft>
                <a:spcPts val="111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EC64EB5-3739-41D1-9D4C-C15F12AC1533}"/>
              </a:ext>
            </a:extLst>
          </p:cNvPr>
          <p:cNvSpPr txBox="1"/>
          <p:nvPr userDrawn="1"/>
        </p:nvSpPr>
        <p:spPr>
          <a:xfrm>
            <a:off x="4177857" y="6858002"/>
            <a:ext cx="3834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>
                <a:solidFill>
                  <a:srgbClr val="C50022"/>
                </a:solidFill>
                <a:sym typeface="Wingdings" panose="05000000000000000000" pitchFamily="2" charset="2"/>
              </a:rPr>
              <a:t></a:t>
            </a:r>
            <a:endParaRPr lang="de-DE" sz="1200">
              <a:solidFill>
                <a:srgbClr val="C50022"/>
              </a:solidFill>
            </a:endParaRPr>
          </a:p>
          <a:p>
            <a:pPr algn="ctr"/>
            <a:r>
              <a:rPr lang="de-DE" sz="1200">
                <a:solidFill>
                  <a:srgbClr val="C50022"/>
                </a:solidFill>
              </a:rPr>
              <a:t>Zur Angabe der Klassifizierung (VERTRAULICH etc.) </a:t>
            </a:r>
            <a:br>
              <a:rPr lang="de-DE" sz="1200">
                <a:solidFill>
                  <a:srgbClr val="C50022"/>
                </a:solidFill>
              </a:rPr>
            </a:br>
            <a:r>
              <a:rPr lang="de-DE" sz="1200">
                <a:solidFill>
                  <a:srgbClr val="C50022"/>
                </a:solidFill>
              </a:rPr>
              <a:t>bitte dieses Textfeld im Folienmaster verwend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D9B5EBCF-8366-423F-A189-061C72AD55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1" y="1964565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1FFE4BCF-4B73-4A05-BEB3-D2BA4D346AC7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867826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8" r:id="rId5"/>
    <p:sldLayoutId id="2147483859" r:id="rId6"/>
  </p:sldLayoutIdLst>
  <p:hf hdr="0"/>
  <p:txStyles>
    <p:titleStyle>
      <a:lvl1pPr algn="l" defTabSz="91443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911" indent="-342911" algn="l" defTabSz="91443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7574" indent="-360375" algn="l" defTabSz="91443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1"/>
        </a:buClr>
        <a:buFont typeface="Wingdings 3" panose="05040102010807070707" pitchFamily="18" charset="2"/>
        <a:buChar char="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77950" indent="-360375" algn="l" defTabSz="914430" rtl="0" eaLnBrk="1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6736" indent="-358787" algn="l" defTabSz="91443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−"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7469" indent="-228608" algn="l" defTabSz="914430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683" indent="-228608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99" indent="-228608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14" indent="-228608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30" indent="-228608" algn="l" defTabSz="91443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6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7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9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7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22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0415DF1-5E1A-443C-93A8-7F3526165C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35294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0415DF1-5E1A-443C-93A8-7F3526165C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uppieren 8" hidden="1">
            <a:extLst>
              <a:ext uri="{FF2B5EF4-FFF2-40B4-BE49-F238E27FC236}">
                <a16:creationId xmlns:a16="http://schemas.microsoft.com/office/drawing/2014/main" id="{D7B6BC95-8EEB-4817-BBEE-BFB3C1456F30}"/>
              </a:ext>
            </a:extLst>
          </p:cNvPr>
          <p:cNvGrpSpPr/>
          <p:nvPr userDrawn="1"/>
        </p:nvGrpSpPr>
        <p:grpSpPr>
          <a:xfrm>
            <a:off x="9597610" y="6092575"/>
            <a:ext cx="2592000" cy="540000"/>
            <a:chOff x="9597610" y="6092575"/>
            <a:chExt cx="2592000" cy="540000"/>
          </a:xfrm>
        </p:grpSpPr>
        <p:sp>
          <p:nvSpPr>
            <p:cNvPr id="10" name="Rechteck 9" hidden="1">
              <a:extLst>
                <a:ext uri="{FF2B5EF4-FFF2-40B4-BE49-F238E27FC236}">
                  <a16:creationId xmlns:a16="http://schemas.microsoft.com/office/drawing/2014/main" id="{22019ED6-12CF-4A62-86DE-85747B9226F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/>
            </a:p>
          </p:txBody>
        </p:sp>
        <p:pic>
          <p:nvPicPr>
            <p:cNvPr id="11" name="Grafik 10" hidden="1">
              <a:extLst>
                <a:ext uri="{FF2B5EF4-FFF2-40B4-BE49-F238E27FC236}">
                  <a16:creationId xmlns:a16="http://schemas.microsoft.com/office/drawing/2014/main" id="{5C10B800-1D38-4CC4-8BDB-98E1095D92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2611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8ACE506A-0E4B-4DF0-9E21-2FB264D53D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 rtl="0">
              <a:defRPr sz="900"/>
            </a:lvl1pPr>
          </a:lstStyle>
          <a:p>
            <a:fld id="{EBFDB154-2F1F-42FE-9B75-D631E8FF50AD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2A39E5B-DB5C-4AB3-829E-ED138EF14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>
                <a:solidFill>
                  <a:srgbClr val="000000"/>
                </a:solidFill>
              </a:defRPr>
            </a:lvl1pPr>
          </a:lstStyle>
          <a:p>
            <a:r>
              <a:rPr lang="en-US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93BAA22-3B96-4875-B441-E07DB937D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 rtl="0">
              <a:defRPr sz="900" b="1"/>
            </a:lvl1pPr>
          </a:lstStyle>
          <a:p>
            <a:fld id="{82EA1D04-CA53-4DE3-84A8-2B63E41036C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EDC1E47-FF61-41E0-9C92-E40774973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C9F4733D-C88A-4205-8841-88E70A657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3999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s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masters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ite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en-US" sz="20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bene</a:t>
            </a:r>
          </a:p>
        </p:txBody>
      </p:sp>
      <p:sp>
        <p:nvSpPr>
          <p:cNvPr id="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6C43693A-C2EA-44C7-A4B8-B3B66A7D5542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235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004A96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004A96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61950" algn="l" defTabSz="914400" rtl="0" eaLnBrk="1" fontAlgn="auto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004A96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43F7812-2AF8-4258-9267-642A5BED93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009650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33" imgW="324" imgH="324" progId="TCLayout.ActiveDocument.1">
                  <p:embed/>
                </p:oleObj>
              </mc:Choice>
              <mc:Fallback>
                <p:oleObj name="think-cell Slide" r:id="rId33" imgW="324" imgH="3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43F7812-2AF8-4258-9267-642A5BED93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B3967C-4152-4EC1-9717-0C0FF61711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2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|  Optionale Zusatzinformatione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1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4997840-F6E1-4998-ADA0-73D15DED5C8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8570" y="6516000"/>
            <a:ext cx="3581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EF0FE337-F7FA-4851-813D-E73792272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70" y="432000"/>
            <a:ext cx="11736272" cy="853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63B2DFB-2973-4E18-9D29-EFAF4EB6DA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570" y="2019300"/>
            <a:ext cx="11736272" cy="40911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4E603F82-4A83-4600-8647-87E86A7254F1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4211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  <p:sldLayoutId id="2147483880" r:id="rId20"/>
    <p:sldLayoutId id="2147483881" r:id="rId21"/>
    <p:sldLayoutId id="2147483882" r:id="rId22"/>
    <p:sldLayoutId id="2147483883" r:id="rId23"/>
    <p:sldLayoutId id="2147483886" r:id="rId24"/>
    <p:sldLayoutId id="2147483888" r:id="rId25"/>
    <p:sldLayoutId id="2147483889" r:id="rId26"/>
    <p:sldLayoutId id="2147483890" r:id="rId27"/>
    <p:sldLayoutId id="2147483891" r:id="rId28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66" indent="-341966" algn="l" defTabSz="914309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16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738" indent="-266373" algn="l" defTabSz="914309" rtl="0" eaLnBrk="1" latinLnBrk="0" hangingPunct="1">
        <a:lnSpc>
          <a:spcPct val="95000"/>
        </a:lnSpc>
        <a:spcBef>
          <a:spcPts val="300"/>
        </a:spcBef>
        <a:spcAft>
          <a:spcPts val="300"/>
        </a:spcAft>
        <a:buClr>
          <a:schemeClr val="accent1"/>
        </a:buClr>
        <a:buSzPct val="80000"/>
        <a:buFont typeface="Arial" panose="020B0604020202020204" pitchFamily="34" charset="0"/>
        <a:buChar char="▬"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910" indent="-277172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&quot;"/>
        <a:defRPr sz="12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283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12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12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A5F2F93-9238-4A35-B1AA-57FB8549A3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61771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530" imgH="528" progId="TCLayout.ActiveDocument.1">
                  <p:embed/>
                </p:oleObj>
              </mc:Choice>
              <mc:Fallback>
                <p:oleObj name="think-cell Slide" r:id="rId7" imgW="530" imgH="52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A5F2F93-9238-4A35-B1AA-57FB8549A3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890744B-3EE6-4EEA-BDB0-3D80871316B4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D004A04-23FE-413A-B2B1-116905BFA3BE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3F96BAF2-2ACB-4182-8DBF-74DA4D08AE01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D8E7DFEB-4232-4129-A629-46EC9D8917C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667632A4-0760-4CBC-A3D4-1CFDE34409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15412785-BEB6-4FCD-BE23-9628C360BD2E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65080E08-982A-4475-AFC5-517EA5E24B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36D1DEA-EB50-48AD-A5B7-6211AEB55C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69953FA8-7320-4389-8473-636297A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6C25B751-D228-4E26-B9FE-4327002BE4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4000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>
                <a:srgbClr val="65AC1E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5963" marR="0" lvl="1" indent="-358775" algn="l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Clr>
                <a:srgbClr val="65AC1E"/>
              </a:buClr>
              <a:buSzPct val="90000"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81088" marR="0" lvl="2" indent="-365125" algn="l" defTabSz="914400" rtl="0" eaLnBrk="1" fontAlgn="base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65AC1E"/>
              </a:buClr>
              <a:buSzPct val="95000"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3513" marR="0" lvl="3" indent="-3587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65AC1E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AE9072BF-2618-40A2-B0F2-E6E413DF8F43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25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6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base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rgbClr val="65AC1E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5963" marR="0" indent="-358775" algn="l" defTabSz="914400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rgbClr val="65AC1E"/>
        </a:buClr>
        <a:buSzPct val="90000"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81088" marR="0" indent="-365125" algn="l" defTabSz="914400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65AC1E"/>
        </a:buClr>
        <a:buSzPct val="95000"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3513" marR="0" indent="-358775" algn="l" defTabSz="914400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rgbClr val="65AC1E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36" userDrawn="1">
          <p15:clr>
            <a:srgbClr val="F26B43"/>
          </p15:clr>
        </p15:guide>
        <p15:guide id="7" orient="horz" pos="4183">
          <p15:clr>
            <a:srgbClr val="F26B43"/>
          </p15:clr>
        </p15:guide>
        <p15:guide id="8" orient="horz" pos="4047">
          <p15:clr>
            <a:srgbClr val="F26B43"/>
          </p15:clr>
        </p15:guide>
        <p15:guide id="9" orient="horz" pos="1275" userDrawn="1">
          <p15:clr>
            <a:srgbClr val="F26B43"/>
          </p15:clr>
        </p15:guide>
        <p15:guide id="10" pos="143" userDrawn="1">
          <p15:clr>
            <a:srgbClr val="F26B43"/>
          </p15:clr>
        </p15:guide>
        <p15:guide id="11" orient="horz" pos="3838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8ABAF60-144A-4339-9C4D-8B24160A18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58493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7" imgW="532" imgH="533" progId="TCLayout.ActiveDocument.1">
                  <p:embed/>
                </p:oleObj>
              </mc:Choice>
              <mc:Fallback>
                <p:oleObj name="think-cell Slide" r:id="rId7" imgW="532" imgH="53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8ABAF60-144A-4339-9C4D-8B24160A18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6E64A72-ECD9-49FD-9FEC-8D0F3C3F5472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D7B6BC95-8EEB-4817-BBEE-BFB3C1456F30}"/>
              </a:ext>
            </a:extLst>
          </p:cNvPr>
          <p:cNvGrpSpPr/>
          <p:nvPr userDrawn="1"/>
        </p:nvGrpSpPr>
        <p:grpSpPr>
          <a:xfrm>
            <a:off x="9601200" y="6091200"/>
            <a:ext cx="2592000" cy="540000"/>
            <a:chOff x="9597610" y="6092575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2019ED6-12CF-4A62-86DE-85747B9226FB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5C10B800-1D38-4CC4-8BDB-98E1095D92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10" y="6229375"/>
              <a:ext cx="808391" cy="29288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8ACE506A-0E4B-4DF0-9E21-2FB264D53D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3085CD9-1AAE-417C-B708-577B4BB423C9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22A39E5B-DB5C-4AB3-829E-ED138EF14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0" y="6516110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F93BAA22-3B96-4875-B441-E07DB937DF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3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3EDC1E47-FF61-41E0-9C92-E40774973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C9F4733D-C88A-4205-8841-88E70A657D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0" y="1943999"/>
            <a:ext cx="11752359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004A96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9138" marR="0" lvl="1" indent="-36195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004A96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4738" marR="0" lvl="2" indent="-355600" algn="l" defTabSz="914400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688" marR="0" lvl="3" indent="-3619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ct val="50000"/>
              </a:spcAft>
              <a:buClr>
                <a:srgbClr val="004A96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5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05BC6584-04C7-4E93-89E7-8A797B80FDA4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8689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marR="0" indent="-3429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9138" marR="0" indent="-36195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004A96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4738" marR="0" indent="-355600" algn="l" defTabSz="914400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004A96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688" marR="0" indent="-361950" algn="l" defTabSz="914400" rtl="0" eaLnBrk="1" fontAlgn="auto" latinLnBrk="0" hangingPunct="1">
        <a:lnSpc>
          <a:spcPct val="110000"/>
        </a:lnSpc>
        <a:spcBef>
          <a:spcPts val="0"/>
        </a:spcBef>
        <a:spcAft>
          <a:spcPct val="50000"/>
        </a:spcAft>
        <a:buClr>
          <a:srgbClr val="004A96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78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orient="horz" pos="1269">
          <p15:clr>
            <a:srgbClr val="F26B43"/>
          </p15:clr>
        </p15:guide>
        <p15:guide id="7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5494277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9" imgW="443" imgH="444" progId="TCLayout.ActiveDocument.1">
                  <p:embed/>
                </p:oleObj>
              </mc:Choice>
              <mc:Fallback>
                <p:oleObj name="think-cell Slide" r:id="rId9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9388169B-7910-4223-8A5F-42D7C59DAEF5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3782C82E-2274-4ABA-A9AF-A881C90BD66E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36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235AC42-6C82-4A02-A24D-B10D4A2DD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5144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235AC42-6C82-4A02-A24D-B10D4A2DD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51780D0-E974-4B3E-B077-9816BF72DA02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2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BE1C7A89-F499-48BB-B198-5926E8FBB1D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EC64EB5-3739-41D1-9D4C-C15F12AC1533}"/>
              </a:ext>
            </a:extLst>
          </p:cNvPr>
          <p:cNvSpPr txBox="1"/>
          <p:nvPr userDrawn="1"/>
        </p:nvSpPr>
        <p:spPr>
          <a:xfrm>
            <a:off x="4177857" y="6858004"/>
            <a:ext cx="3834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>
                <a:solidFill>
                  <a:srgbClr val="C50022"/>
                </a:solidFill>
                <a:sym typeface="Wingdings" panose="05000000000000000000" pitchFamily="2" charset="2"/>
              </a:rPr>
              <a:t></a:t>
            </a:r>
            <a:endParaRPr lang="de-DE" sz="1200">
              <a:solidFill>
                <a:srgbClr val="C50022"/>
              </a:solidFill>
            </a:endParaRPr>
          </a:p>
          <a:p>
            <a:pPr algn="ctr"/>
            <a:r>
              <a:rPr lang="de-DE" sz="1200">
                <a:solidFill>
                  <a:srgbClr val="C50022"/>
                </a:solidFill>
              </a:rPr>
              <a:t>Zur Angabe der Klassifizierung (VERTRAULICH etc.) </a:t>
            </a:r>
            <a:br>
              <a:rPr lang="de-DE" sz="1200">
                <a:solidFill>
                  <a:srgbClr val="C50022"/>
                </a:solidFill>
              </a:rPr>
            </a:br>
            <a:r>
              <a:rPr lang="de-DE" sz="1200">
                <a:solidFill>
                  <a:srgbClr val="C50022"/>
                </a:solidFill>
              </a:rPr>
              <a:t>bitte dieses Textfeld im Folienmaster verwend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2ED9C27-3BB2-4F96-9471-64B44D66C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AAD16D43-6079-4C76-8656-D7AB77272B18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71690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832" marR="0" indent="-342832" algn="l" defTabSz="914218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819" marR="0" indent="-358703" algn="l" defTabSz="914218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0872" marR="0" indent="-365051" algn="l" defTabSz="914218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227" marR="0" indent="-358703" algn="l" defTabSz="914218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6988" indent="-228554" algn="l" defTabSz="914218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098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2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235AC42-6C82-4A02-A24D-B10D4A2DD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14971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235AC42-6C82-4A02-A24D-B10D4A2DD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251780D0-E974-4B3E-B077-9816BF72DA02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29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4B6A72FA-458D-4538-AEDE-4F7F38509E9E}"/>
              </a:ext>
            </a:extLst>
          </p:cNvPr>
          <p:cNvGrpSpPr/>
          <p:nvPr userDrawn="1"/>
        </p:nvGrpSpPr>
        <p:grpSpPr>
          <a:xfrm>
            <a:off x="9597612" y="6092575"/>
            <a:ext cx="2592000" cy="540000"/>
            <a:chOff x="9597610" y="6092575"/>
            <a:chExt cx="2592000" cy="5400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277971D-6070-4B2E-994F-CFD4ABE539B7}"/>
                </a:ext>
              </a:extLst>
            </p:cNvPr>
            <p:cNvSpPr/>
            <p:nvPr userDrawn="1"/>
          </p:nvSpPr>
          <p:spPr>
            <a:xfrm>
              <a:off x="9597610" y="6092575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6603E70-F65B-482B-8F9B-7B6AEACE7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27294" y="6228712"/>
              <a:ext cx="808391" cy="292882"/>
            </a:xfrm>
            <a:prstGeom prst="rect">
              <a:avLst/>
            </a:prstGeom>
          </p:spPr>
        </p:pic>
      </p:grpSp>
      <p:sp>
        <p:nvSpPr>
          <p:cNvPr id="22" name="Datumsplatzhalter 5"/>
          <p:cNvSpPr>
            <a:spLocks noGrp="1"/>
          </p:cNvSpPr>
          <p:nvPr userDrawn="1"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5BB947EF-8034-4082-BAA8-7CE0EC87D95D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23" name="Fußzeilenplatzhalter 6"/>
          <p:cNvSpPr>
            <a:spLocks noGrp="1"/>
          </p:cNvSpPr>
          <p:nvPr userDrawn="1">
            <p:ph type="ftr" sz="quarter" idx="3"/>
          </p:nvPr>
        </p:nvSpPr>
        <p:spPr>
          <a:xfrm>
            <a:off x="1368002" y="6516114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24" name="Foliennummernplatzhalter 7"/>
          <p:cNvSpPr>
            <a:spLocks noGrp="1"/>
          </p:cNvSpPr>
          <p:nvPr userDrawn="1">
            <p:ph type="sldNum" sz="quarter" idx="4"/>
          </p:nvPr>
        </p:nvSpPr>
        <p:spPr>
          <a:xfrm>
            <a:off x="227015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37FE3EDC-0827-4CF8-B2E7-B826A23D8F0B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1949EE9-BA46-4479-914B-3ECC6A2A8BA4}"/>
              </a:ext>
            </a:extLst>
          </p:cNvPr>
          <p:cNvSpPr txBox="1"/>
          <p:nvPr userDrawn="1"/>
        </p:nvSpPr>
        <p:spPr>
          <a:xfrm>
            <a:off x="5987005" y="6451321"/>
            <a:ext cx="21640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110"/>
              </a:spcBef>
              <a:spcAft>
                <a:spcPts val="110"/>
              </a:spcAft>
            </a:pPr>
            <a:r>
              <a:rPr lang="de-DE" sz="1200">
                <a:solidFill>
                  <a:srgbClr val="C50022"/>
                </a:solidFill>
              </a:rPr>
              <a:t>     </a:t>
            </a:r>
            <a:endParaRPr lang="de-DE" sz="1800">
              <a:solidFill>
                <a:srgbClr val="C50022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EC64EB5-3739-41D1-9D4C-C15F12AC1533}"/>
              </a:ext>
            </a:extLst>
          </p:cNvPr>
          <p:cNvSpPr txBox="1"/>
          <p:nvPr userDrawn="1"/>
        </p:nvSpPr>
        <p:spPr>
          <a:xfrm>
            <a:off x="4177857" y="6858004"/>
            <a:ext cx="3834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>
                <a:solidFill>
                  <a:srgbClr val="C50022"/>
                </a:solidFill>
                <a:sym typeface="Wingdings" panose="05000000000000000000" pitchFamily="2" charset="2"/>
              </a:rPr>
              <a:t></a:t>
            </a:r>
            <a:endParaRPr lang="de-DE" sz="1200">
              <a:solidFill>
                <a:srgbClr val="C50022"/>
              </a:solidFill>
            </a:endParaRPr>
          </a:p>
          <a:p>
            <a:pPr algn="ctr"/>
            <a:r>
              <a:rPr lang="de-DE" sz="1200">
                <a:solidFill>
                  <a:srgbClr val="C50022"/>
                </a:solidFill>
              </a:rPr>
              <a:t>Zur Angabe der Klassifizierung (VERTRAULICH etc.) </a:t>
            </a:r>
            <a:br>
              <a:rPr lang="de-DE" sz="1200">
                <a:solidFill>
                  <a:srgbClr val="C50022"/>
                </a:solidFill>
              </a:rPr>
            </a:br>
            <a:r>
              <a:rPr lang="de-DE" sz="1200">
                <a:solidFill>
                  <a:srgbClr val="C50022"/>
                </a:solidFill>
              </a:rPr>
              <a:t>bitte dieses Textfeld im Folienmaster verwend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B2ED9C27-3BB2-4F96-9471-64B44D66CC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1042" y="1964567"/>
            <a:ext cx="11752359" cy="3905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9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501FDFB2-7AD6-403F-B765-D45DBA6EDCE2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987284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800" b="1" i="0" kern="1200">
          <a:solidFill>
            <a:schemeClr val="accent1"/>
          </a:solidFill>
          <a:latin typeface="Arial"/>
          <a:ea typeface="+mj-ea"/>
          <a:cs typeface="+mj-cs"/>
        </a:defRPr>
      </a:lvl1pPr>
    </p:titleStyle>
    <p:bodyStyle>
      <a:lvl1pPr marL="342832" marR="0" indent="-342832" algn="l" defTabSz="914218" rtl="0" eaLnBrk="1" fontAlgn="base" latinLnBrk="0" hangingPunct="1">
        <a:lnSpc>
          <a:spcPct val="110000"/>
        </a:lnSpc>
        <a:spcBef>
          <a:spcPts val="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n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1pPr>
      <a:lvl2pPr marL="715819" marR="0" indent="-358703" algn="l" defTabSz="914218" rtl="0" eaLnBrk="1" fontAlgn="base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0000"/>
        <a:buFont typeface="Wingdings 3" panose="05040102010807070707" pitchFamily="18" charset="2"/>
        <a:buChar char="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2pPr>
      <a:lvl3pPr marL="1080872" marR="0" indent="-365051" algn="l" defTabSz="914218" rtl="0" eaLnBrk="1" fontAlgn="base" latinLnBrk="0" hangingPunct="1">
        <a:lnSpc>
          <a:spcPct val="110000"/>
        </a:lnSpc>
        <a:spcBef>
          <a:spcPts val="300"/>
        </a:spcBef>
        <a:spcAft>
          <a:spcPts val="0"/>
        </a:spcAft>
        <a:buClr>
          <a:schemeClr val="accent1"/>
        </a:buClr>
        <a:buSzPct val="95000"/>
        <a:buFont typeface="Arial" panose="020B0604020202020204" pitchFamily="34" charset="0"/>
        <a:buChar char="●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3pPr>
      <a:lvl4pPr marL="1433227" marR="0" indent="-358703" algn="l" defTabSz="914218" rtl="0" eaLnBrk="1" fontAlgn="base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Tx/>
        <a:buFont typeface="Arial" panose="020B0604020202020204" pitchFamily="34" charset="0"/>
        <a:buChar char="−"/>
        <a:tabLst/>
        <a:defRPr lang="de-DE" sz="2000" b="0" i="0" kern="1200" smtClean="0">
          <a:solidFill>
            <a:schemeClr val="tx1"/>
          </a:solidFill>
          <a:latin typeface="Arial"/>
          <a:ea typeface="+mn-ea"/>
          <a:cs typeface="+mn-cs"/>
        </a:defRPr>
      </a:lvl4pPr>
      <a:lvl5pPr marL="2056988" indent="-228554" algn="l" defTabSz="914218" rtl="0" eaLnBrk="1" latinLnBrk="0" hangingPunct="1">
        <a:lnSpc>
          <a:spcPct val="95000"/>
        </a:lnSpc>
        <a:spcBef>
          <a:spcPts val="0"/>
        </a:spcBef>
        <a:spcAft>
          <a:spcPct val="50000"/>
        </a:spcAft>
        <a:buClr>
          <a:schemeClr val="tx1"/>
        </a:buClr>
        <a:buFontTx/>
        <a:buChar char="–"/>
        <a:defRPr lang="de-DE" sz="2000" b="0" i="0" kern="1200" dirty="0">
          <a:solidFill>
            <a:schemeClr val="tx1"/>
          </a:solidFill>
          <a:latin typeface="Arial"/>
          <a:ea typeface="+mn-ea"/>
          <a:cs typeface="+mn-cs"/>
        </a:defRPr>
      </a:lvl5pPr>
      <a:lvl6pPr marL="2514098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2" indent="-228554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>
          <p15:clr>
            <a:srgbClr val="F26B43"/>
          </p15:clr>
        </p15:guide>
        <p15:guide id="4" pos="143">
          <p15:clr>
            <a:srgbClr val="F26B43"/>
          </p15:clr>
        </p15:guide>
        <p15:guide id="5" pos="7536">
          <p15:clr>
            <a:srgbClr val="F26B43"/>
          </p15:clr>
        </p15:guide>
        <p15:guide id="10" orient="horz" pos="1275">
          <p15:clr>
            <a:srgbClr val="F26B43"/>
          </p15:clr>
        </p15:guide>
        <p15:guide id="11" orient="horz" pos="417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3521748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6A400BB0-1100-4BB9-9D18-1CACD16258A8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F760E260-3D9F-4E61-A69F-260E10338E4E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80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6E9643C-3800-48DA-A2FF-3F29F8E8C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15913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6E9643C-3800-48DA-A2FF-3F29F8E8C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67822" y="6516000"/>
            <a:ext cx="7918969" cy="169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|  Optionale Zusatzinformation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87511" y="6516000"/>
            <a:ext cx="467939" cy="1512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0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B813742A-0670-4442-8DA7-847FDC9B3BB1}" type="datetime8">
              <a:rPr lang="en-DE" smtClean="0">
                <a:solidFill>
                  <a:srgbClr val="000000"/>
                </a:solidFill>
              </a:rPr>
              <a:t>01/11/2023 15:56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26771" y="6516000"/>
            <a:ext cx="359953" cy="151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914309" rtl="0" eaLnBrk="1" latinLnBrk="0" hangingPunct="1">
              <a:lnSpc>
                <a:spcPct val="100000"/>
              </a:lnSpc>
              <a:spcBef>
                <a:spcPts val="110"/>
              </a:spcBef>
              <a:spcAft>
                <a:spcPts val="110"/>
              </a:spcAft>
              <a:buNone/>
              <a:defRPr sz="900" b="1" i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D7C0CCF7-DF53-4ADB-AAD8-9742C01AD446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12372" y="1965600"/>
            <a:ext cx="11752470" cy="390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</a:p>
          <a:p>
            <a:pPr lvl="8"/>
            <a:endParaRPr lang="de-DE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19572" y="432000"/>
            <a:ext cx="11734472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DAAB4C8-AEFE-4A52-B5FE-12254CCF05E3}"/>
              </a:ext>
            </a:extLst>
          </p:cNvPr>
          <p:cNvGrpSpPr/>
          <p:nvPr userDrawn="1"/>
        </p:nvGrpSpPr>
        <p:grpSpPr>
          <a:xfrm>
            <a:off x="9599950" y="6091200"/>
            <a:ext cx="2591663" cy="540000"/>
            <a:chOff x="9597600" y="6091200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97E5F5D-9039-493D-9DC1-A5E70DAEDE09}"/>
                </a:ext>
              </a:extLst>
            </p:cNvPr>
            <p:cNvSpPr/>
            <p:nvPr userDrawn="1"/>
          </p:nvSpPr>
          <p:spPr>
            <a:xfrm>
              <a:off x="9597600" y="6091200"/>
              <a:ext cx="2592000" cy="540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cs typeface="Arial"/>
              </a:endParaRP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30DF2564-4DFA-485C-B2BF-1D3760A38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0800" y="6224400"/>
              <a:ext cx="808391" cy="292882"/>
            </a:xfrm>
            <a:prstGeom prst="rect">
              <a:avLst/>
            </a:prstGeom>
          </p:spPr>
        </p:pic>
      </p:grpSp>
      <p:sp>
        <p:nvSpPr>
          <p:cNvPr id="8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5C4F479D-14A2-4ED0-9FEE-D8A3CB3D9BCF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099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hf hdr="0"/>
  <p:txStyles>
    <p:titleStyle>
      <a:lvl1pPr algn="l" defTabSz="914309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1966" indent="-341966" algn="l" defTabSz="914309" rtl="0" eaLnBrk="1" latinLnBrk="0" hangingPunct="1">
        <a:lnSpc>
          <a:spcPct val="95000"/>
        </a:lnSpc>
        <a:spcBef>
          <a:spcPts val="180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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22738" indent="-266373" algn="l" defTabSz="914309" rtl="0" eaLnBrk="1" latinLnBrk="0" hangingPunct="1">
        <a:lnSpc>
          <a:spcPct val="95000"/>
        </a:lnSpc>
        <a:spcBef>
          <a:spcPts val="600"/>
        </a:spcBef>
        <a:spcAft>
          <a:spcPts val="0"/>
        </a:spcAft>
        <a:buClr>
          <a:schemeClr val="accent1"/>
        </a:buClr>
        <a:buSzPct val="100000"/>
        <a:buFont typeface="Wingdings 3" panose="05040102010807070707" pitchFamily="18" charset="2"/>
        <a:buChar char="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99910" indent="-277172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Wingdings" panose="05000000000000000000" pitchFamily="2" charset="2"/>
        <a:buChar char="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166283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438" indent="-266373" algn="l" defTabSz="914309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592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746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900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2055" indent="-266373" algn="l" defTabSz="914309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536">
          <p15:clr>
            <a:srgbClr val="F26B43"/>
          </p15:clr>
        </p15:guide>
        <p15:guide id="2" orient="horz" pos="4184">
          <p15:clr>
            <a:srgbClr val="F26B43"/>
          </p15:clr>
        </p15:guide>
        <p15:guide id="3" orient="horz" pos="4048">
          <p15:clr>
            <a:srgbClr val="F26B43"/>
          </p15:clr>
        </p15:guide>
        <p15:guide id="4" orient="horz" pos="1272">
          <p15:clr>
            <a:srgbClr val="F26B43"/>
          </p15:clr>
        </p15:guide>
        <p15:guide id="5" pos="144">
          <p15:clr>
            <a:srgbClr val="F26B43"/>
          </p15:clr>
        </p15:guide>
        <p15:guide id="6" orient="horz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8997022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9603EE3D-C429-4FC0-A490-6B26FE8372ED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F5073A74-261B-4813-A260-09AE9919451A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651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40ED476-9B3B-4869-8FE9-63BB288C4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2089821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9" imgW="443" imgH="444" progId="TCLayout.ActiveDocument.1">
                  <p:embed/>
                </p:oleObj>
              </mc:Choice>
              <mc:Fallback>
                <p:oleObj name="think-cell Slide" r:id="rId9" imgW="443" imgH="4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40ED476-9B3B-4869-8FE9-63BB288C4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91B6E0C-E722-4E01-8435-BD71F95FA36B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4C23ECE9-55E2-40A2-8220-7CBDA2F08879}"/>
              </a:ext>
            </a:extLst>
          </p:cNvPr>
          <p:cNvGrpSpPr/>
          <p:nvPr userDrawn="1"/>
        </p:nvGrpSpPr>
        <p:grpSpPr>
          <a:xfrm>
            <a:off x="9598407" y="6091174"/>
            <a:ext cx="2592000" cy="540000"/>
            <a:chOff x="9598406" y="6091174"/>
            <a:chExt cx="2592000" cy="54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0549B5D-8294-4CE9-B067-68D73996D56D}"/>
                </a:ext>
              </a:extLst>
            </p:cNvPr>
            <p:cNvSpPr>
              <a:spLocks/>
            </p:cNvSpPr>
            <p:nvPr userDrawn="1"/>
          </p:nvSpPr>
          <p:spPr>
            <a:xfrm>
              <a:off x="9598406" y="6091174"/>
              <a:ext cx="2592000" cy="540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1B13DAA-BE29-4AFF-BED6-1A2BB0EEFF7E}"/>
                </a:ext>
              </a:extLst>
            </p:cNvPr>
            <p:cNvPicPr>
              <a:picLocks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3407" y="6224397"/>
              <a:ext cx="810006" cy="291592"/>
            </a:xfrm>
            <a:prstGeom prst="rect">
              <a:avLst/>
            </a:prstGeom>
          </p:spPr>
        </p:pic>
      </p:grpSp>
      <p:sp>
        <p:nvSpPr>
          <p:cNvPr id="12" name="Datumsplatzhalter 5">
            <a:extLst>
              <a:ext uri="{FF2B5EF4-FFF2-40B4-BE49-F238E27FC236}">
                <a16:creationId xmlns:a16="http://schemas.microsoft.com/office/drawing/2014/main" id="{E81D7766-257E-4192-A417-5A75923109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5760" y="6516409"/>
            <a:ext cx="468126" cy="175322"/>
          </a:xfrm>
          <a:prstGeom prst="rect">
            <a:avLst/>
          </a:prstGeom>
        </p:spPr>
        <p:txBody>
          <a:bodyPr wrap="none" lIns="0" tIns="0" rIns="0" bIns="0"/>
          <a:lstStyle>
            <a:lvl1pPr>
              <a:defRPr sz="900"/>
            </a:lvl1pPr>
          </a:lstStyle>
          <a:p>
            <a:fld id="{21F67E3E-D4FD-45C4-B439-7B5E0F7A778B}" type="datetime8">
              <a:rPr lang="en-DE" smtClean="0"/>
              <a:t>01/11/2023 15:56</a:t>
            </a:fld>
            <a:endParaRPr lang="de-DE"/>
          </a:p>
        </p:txBody>
      </p:sp>
      <p:sp>
        <p:nvSpPr>
          <p:cNvPr id="13" name="Fußzeilenplatzhalter 6">
            <a:extLst>
              <a:ext uri="{FF2B5EF4-FFF2-40B4-BE49-F238E27FC236}">
                <a16:creationId xmlns:a16="http://schemas.microsoft.com/office/drawing/2014/main" id="{A471BB40-D626-4E41-85B2-0A2681286F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68001" y="6516112"/>
            <a:ext cx="3364269" cy="16793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|  Optionale Zusatzinformationen</a:t>
            </a:r>
          </a:p>
        </p:txBody>
      </p:sp>
      <p:sp>
        <p:nvSpPr>
          <p:cNvPr id="14" name="Foliennummernplatzhalter 7">
            <a:extLst>
              <a:ext uri="{FF2B5EF4-FFF2-40B4-BE49-F238E27FC236}">
                <a16:creationId xmlns:a16="http://schemas.microsoft.com/office/drawing/2014/main" id="{9D4DE141-74C2-4ACB-AAE3-A72260A86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27014" y="6514798"/>
            <a:ext cx="384217" cy="151200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1"/>
            </a:lvl1pPr>
          </a:lstStyle>
          <a:p>
            <a:fld id="{82EA1D04-CA53-4DE3-84A8-2B63E41036C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Titelplatzhalter 4">
            <a:extLst>
              <a:ext uri="{FF2B5EF4-FFF2-40B4-BE49-F238E27FC236}">
                <a16:creationId xmlns:a16="http://schemas.microsoft.com/office/drawing/2014/main" id="{ACFF5AB1-3F3F-4125-9E09-1C088DC66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306" y="430442"/>
            <a:ext cx="11736386" cy="853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DC283745-6624-4F22-926F-9D7FE9F005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16001" y="1440000"/>
            <a:ext cx="11752359" cy="447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42866" marR="0" lvl="0" indent="-342866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vorlagen des Textmasters bearbeiten</a:t>
            </a:r>
          </a:p>
          <a:p>
            <a:pPr marL="717478" marR="0" lvl="1" indent="-360327" algn="l" defTabSz="914309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rgbClr val="21A0D2"/>
              </a:buClr>
              <a:buSzTx/>
              <a:buFont typeface="Wingdings 3" panose="05040102010807070707" pitchFamily="18" charset="2"/>
              <a:buChar char="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weite Ebene</a:t>
            </a:r>
          </a:p>
          <a:p>
            <a:pPr marL="1077805" marR="0" lvl="2" indent="-360327" algn="l" defTabSz="914309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tte Ebene</a:t>
            </a:r>
          </a:p>
          <a:p>
            <a:pPr marL="1436544" marR="0" lvl="3" indent="-358739" algn="l" defTabSz="91430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21A0D2"/>
              </a:buClr>
              <a:buSzTx/>
              <a:buFont typeface="Arial" panose="020B0604020202020204" pitchFamily="34" charset="0"/>
              <a:buChar char="−"/>
              <a:tabLst/>
              <a:defRPr/>
            </a:pPr>
            <a:r>
              <a:rPr kumimoji="0" lang="de-DE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erte Ebene</a:t>
            </a:r>
          </a:p>
        </p:txBody>
      </p:sp>
      <p:sp>
        <p:nvSpPr>
          <p:cNvPr id="4" name="MSIPCMContentMarking" descr="{&quot;HashCode&quot;:-1038031055,&quot;Placement&quot;:&quot;Footer&quot;,&quot;Top&quot;:520.3781,&quot;Left&quot;:452.4955,&quot;SlideWidth&quot;:959,&quot;SlideHeight&quot;:540}">
            <a:extLst>
              <a:ext uri="{FF2B5EF4-FFF2-40B4-BE49-F238E27FC236}">
                <a16:creationId xmlns:a16="http://schemas.microsoft.com/office/drawing/2014/main" id="{0DE07B7E-DE64-413A-A114-F15B2CEEBFE8}"/>
              </a:ext>
            </a:extLst>
          </p:cNvPr>
          <p:cNvSpPr txBox="1"/>
          <p:nvPr userDrawn="1"/>
        </p:nvSpPr>
        <p:spPr>
          <a:xfrm>
            <a:off x="5746693" y="6608802"/>
            <a:ext cx="697026" cy="24919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de-DE" sz="1000" err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750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</p:sldLayoutIdLst>
  <p:hf hdr="0"/>
  <p:txStyles>
    <p:titleStyle>
      <a:lvl1pPr algn="l" defTabSz="914218" rtl="0" eaLnBrk="1" latinLnBrk="0" hangingPunct="1">
        <a:lnSpc>
          <a:spcPct val="100000"/>
        </a:lnSpc>
        <a:spcBef>
          <a:spcPts val="110"/>
        </a:spcBef>
        <a:spcAft>
          <a:spcPts val="110"/>
        </a:spcAft>
        <a:buNone/>
        <a:defRPr sz="2800" b="1" i="0" kern="1200">
          <a:solidFill>
            <a:schemeClr val="accent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866" marR="0" indent="-342866" algn="l" defTabSz="914309" rtl="0" eaLnBrk="1" fontAlgn="auto" latinLnBrk="0" hangingPunct="1">
        <a:lnSpc>
          <a:spcPct val="110000"/>
        </a:lnSpc>
        <a:spcBef>
          <a:spcPts val="1800"/>
        </a:spcBef>
        <a:spcAft>
          <a:spcPts val="0"/>
        </a:spcAft>
        <a:buClr>
          <a:srgbClr val="21A0D2"/>
        </a:buClr>
        <a:buSzTx/>
        <a:buFont typeface="Wingdings" panose="05000000000000000000" pitchFamily="2" charset="2"/>
        <a:buChar char="n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717478" marR="0" indent="-360327" algn="l" defTabSz="914309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>
          <a:srgbClr val="21A0D2"/>
        </a:buClr>
        <a:buSzTx/>
        <a:buFont typeface="Wingdings 3" panose="05040102010807070707" pitchFamily="18" charset="2"/>
        <a:buChar char="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077805" marR="0" indent="-360327" algn="l" defTabSz="914309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●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436544" marR="0" indent="-358739" algn="l" defTabSz="914309" rtl="0" eaLnBrk="1" fontAlgn="auto" latinLnBrk="0" hangingPunct="1">
        <a:lnSpc>
          <a:spcPct val="110000"/>
        </a:lnSpc>
        <a:spcBef>
          <a:spcPts val="0"/>
        </a:spcBef>
        <a:spcAft>
          <a:spcPts val="0"/>
        </a:spcAft>
        <a:buClr>
          <a:srgbClr val="21A0D2"/>
        </a:buClr>
        <a:buSzTx/>
        <a:buFont typeface="Arial" panose="020B0604020202020204" pitchFamily="34" charset="0"/>
        <a:buChar char="−"/>
        <a:tabLst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623276" indent="-266346" algn="l" defTabSz="914218" rtl="0" eaLnBrk="1" latinLnBrk="0" hangingPunct="1">
        <a:lnSpc>
          <a:spcPct val="95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–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080384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537492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7pPr>
      <a:lvl8pPr marL="2994601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8pPr>
      <a:lvl9pPr marL="3451710" indent="-266346" algn="l" defTabSz="914218" rtl="0" eaLnBrk="1" latinLnBrk="0" hangingPunct="1">
        <a:lnSpc>
          <a:spcPct val="95000"/>
        </a:lnSpc>
        <a:spcBef>
          <a:spcPts val="0"/>
        </a:spcBef>
        <a:buClrTx/>
        <a:buFont typeface="Arial" panose="020B0604020202020204" pitchFamily="34" charset="0"/>
        <a:buChar char="•"/>
        <a:defRPr sz="20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83">
          <p15:clr>
            <a:srgbClr val="F26B43"/>
          </p15:clr>
        </p15:guide>
        <p15:guide id="2" orient="horz" pos="4047">
          <p15:clr>
            <a:srgbClr val="F26B43"/>
          </p15:clr>
        </p15:guide>
        <p15:guide id="5" pos="136">
          <p15:clr>
            <a:srgbClr val="F26B43"/>
          </p15:clr>
        </p15:guide>
        <p15:guide id="8" pos="7544">
          <p15:clr>
            <a:srgbClr val="F26B43"/>
          </p15:clr>
        </p15:guide>
        <p15:guide id="9" orient="horz" pos="1275">
          <p15:clr>
            <a:srgbClr val="F26B43"/>
          </p15:clr>
        </p15:guide>
        <p15:guide id="10" orient="horz" pos="3838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37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20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6.bin"/><Relationship Id="rId9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1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0.emf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7.bin"/><Relationship Id="rId9" Type="http://schemas.openxmlformats.org/officeDocument/2006/relationships/image" Target="../media/image22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svg"/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25.svg"/><Relationship Id="rId12" Type="http://schemas.openxmlformats.org/officeDocument/2006/relationships/image" Target="../media/image30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4.png"/><Relationship Id="rId11" Type="http://schemas.openxmlformats.org/officeDocument/2006/relationships/image" Target="../media/image29.svg"/><Relationship Id="rId5" Type="http://schemas.openxmlformats.org/officeDocument/2006/relationships/image" Target="../media/image23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48.bin"/><Relationship Id="rId9" Type="http://schemas.openxmlformats.org/officeDocument/2006/relationships/image" Target="../media/image2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9C672F4-E1EF-4106-8140-81A1F91DB9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575231"/>
              </p:ext>
            </p:extLst>
          </p:nvPr>
        </p:nvGraphicFramePr>
        <p:xfrm>
          <a:off x="3173" y="29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9C672F4-E1EF-4106-8140-81A1F91DB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3" y="29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F7861C-4A78-45D3-874C-7379F2AF5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102" y="161263"/>
            <a:ext cx="11731416" cy="852978"/>
          </a:xfrm>
        </p:spPr>
        <p:txBody>
          <a:bodyPr vert="horz"/>
          <a:lstStyle/>
          <a:p>
            <a:r>
              <a:rPr lang="en-US"/>
              <a:t>The majority of our portfolio is available as </a:t>
            </a:r>
            <a:r>
              <a:rPr lang="en-US" err="1"/>
              <a:t>BMBcert</a:t>
            </a:r>
            <a:r>
              <a:rPr lang="en-US" baseline="30000" err="1"/>
              <a:t>TM</a:t>
            </a:r>
            <a:br>
              <a:rPr lang="en-US"/>
            </a:br>
            <a:r>
              <a:rPr lang="en-US"/>
              <a:t>BASF </a:t>
            </a:r>
            <a:r>
              <a:rPr lang="en-US" err="1"/>
              <a:t>BMBcert</a:t>
            </a:r>
            <a:r>
              <a:rPr lang="en-US" baseline="30000" err="1"/>
              <a:t>TM</a:t>
            </a:r>
            <a:r>
              <a:rPr lang="en-US"/>
              <a:t> Portfolio (1/2)</a:t>
            </a:r>
            <a:endParaRPr lang="de-DE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8CA3384-D4B5-49EE-934F-15F14BB2D2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9730461"/>
              </p:ext>
            </p:extLst>
          </p:nvPr>
        </p:nvGraphicFramePr>
        <p:xfrm>
          <a:off x="323538" y="1243525"/>
          <a:ext cx="8065964" cy="49131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9409">
                  <a:extLst>
                    <a:ext uri="{9D8B030D-6E8A-4147-A177-3AD203B41FA5}">
                      <a16:colId xmlns:a16="http://schemas.microsoft.com/office/drawing/2014/main" val="256147749"/>
                    </a:ext>
                  </a:extLst>
                </a:gridCol>
                <a:gridCol w="1849637">
                  <a:extLst>
                    <a:ext uri="{9D8B030D-6E8A-4147-A177-3AD203B41FA5}">
                      <a16:colId xmlns:a16="http://schemas.microsoft.com/office/drawing/2014/main" val="683205520"/>
                    </a:ext>
                  </a:extLst>
                </a:gridCol>
                <a:gridCol w="1898459">
                  <a:extLst>
                    <a:ext uri="{9D8B030D-6E8A-4147-A177-3AD203B41FA5}">
                      <a16:colId xmlns:a16="http://schemas.microsoft.com/office/drawing/2014/main" val="2798692263"/>
                    </a:ext>
                  </a:extLst>
                </a:gridCol>
                <a:gridCol w="1898459">
                  <a:extLst>
                    <a:ext uri="{9D8B030D-6E8A-4147-A177-3AD203B41FA5}">
                      <a16:colId xmlns:a16="http://schemas.microsoft.com/office/drawing/2014/main" val="1996342283"/>
                    </a:ext>
                  </a:extLst>
                </a:gridCol>
              </a:tblGrid>
              <a:tr h="639973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BASF Aroma Ingredient</a:t>
                      </a: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ODUCT OVERVIEW</a:t>
                      </a:r>
                    </a:p>
                  </a:txBody>
                  <a:tcPr marL="91404" marR="91404" marT="45702" marB="45702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BIODEGRADABLE</a:t>
                      </a:r>
                    </a:p>
                    <a:p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OECD Guidelines</a:t>
                      </a:r>
                    </a:p>
                  </a:txBody>
                  <a:tcPr marL="91404" marR="91404" marT="45702" marB="45702" anchor="b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BIOMASS BAL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Renewable feedstock</a:t>
                      </a:r>
                      <a:endParaRPr lang="en-US" sz="1200" b="0" baseline="-2500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 anchor="b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PRODUCT CARBON FOOTPRINT (PCF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Reduced CO</a:t>
                      </a:r>
                      <a:r>
                        <a:rPr lang="en-US" sz="1200" b="0" baseline="-25000">
                          <a:solidFill>
                            <a:schemeClr val="tx1"/>
                          </a:solidFill>
                        </a:rPr>
                        <a:t>2 </a:t>
                      </a: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emissions</a:t>
                      </a:r>
                    </a:p>
                  </a:txBody>
                  <a:tcPr marL="91404" marR="91404" marT="45702" marB="45702" anchor="b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26443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Anisaldehyd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300058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beta-Ionone R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18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615636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Citra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39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787247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itronellal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dirty="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7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6310740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Citronellol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dirty="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735911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Citronellyl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 Acetat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2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654713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Citronellylnitrile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10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452865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Dihydrorosan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® 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1000" err="1"/>
                        <a:t>tbd</a:t>
                      </a:r>
                      <a:endParaRPr lang="en-US" sz="1000"/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51532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DL-Menthol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tbd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63667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Geraniol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9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249279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Geranyl Acetat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6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613684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Hydroxici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3035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Hydroxycitronella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14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404368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iso-Phytol R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588041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inalool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4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0520604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inalyl Acetat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1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138820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-</a:t>
                      </a: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Isopuleg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9977402"/>
                  </a:ext>
                </a:extLst>
              </a:tr>
            </a:tbl>
          </a:graphicData>
        </a:graphic>
      </p:graphicFrame>
      <p:sp>
        <p:nvSpPr>
          <p:cNvPr id="12" name="TextBox 4">
            <a:extLst>
              <a:ext uri="{FF2B5EF4-FFF2-40B4-BE49-F238E27FC236}">
                <a16:creationId xmlns:a16="http://schemas.microsoft.com/office/drawing/2014/main" id="{8C623231-C46C-4D5E-BB50-AC3EC627B686}"/>
              </a:ext>
            </a:extLst>
          </p:cNvPr>
          <p:cNvSpPr txBox="1"/>
          <p:nvPr/>
        </p:nvSpPr>
        <p:spPr>
          <a:xfrm>
            <a:off x="10786181" y="2481532"/>
            <a:ext cx="1083148" cy="16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/>
              <a:t>Biodegradable</a:t>
            </a:r>
          </a:p>
        </p:txBody>
      </p:sp>
      <p:sp>
        <p:nvSpPr>
          <p:cNvPr id="13" name="TextBox 48">
            <a:extLst>
              <a:ext uri="{FF2B5EF4-FFF2-40B4-BE49-F238E27FC236}">
                <a16:creationId xmlns:a16="http://schemas.microsoft.com/office/drawing/2014/main" id="{28F7F6EE-B54B-47B5-869A-86FCF06633D4}"/>
              </a:ext>
            </a:extLst>
          </p:cNvPr>
          <p:cNvSpPr txBox="1"/>
          <p:nvPr/>
        </p:nvSpPr>
        <p:spPr>
          <a:xfrm>
            <a:off x="9251032" y="2392419"/>
            <a:ext cx="978415" cy="338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/>
              <a:t>Readily biodegradable</a:t>
            </a:r>
          </a:p>
        </p:txBody>
      </p:sp>
      <p:pic>
        <p:nvPicPr>
          <p:cNvPr id="14" name="Grafik 27">
            <a:extLst>
              <a:ext uri="{FF2B5EF4-FFF2-40B4-BE49-F238E27FC236}">
                <a16:creationId xmlns:a16="http://schemas.microsoft.com/office/drawing/2014/main" id="{66187CB9-553A-4393-AD71-10F106CC882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453" y="2379168"/>
            <a:ext cx="395844" cy="395844"/>
          </a:xfrm>
          <a:prstGeom prst="rect">
            <a:avLst/>
          </a:prstGeom>
        </p:spPr>
      </p:pic>
      <p:pic>
        <p:nvPicPr>
          <p:cNvPr id="15" name="Grafik 100">
            <a:extLst>
              <a:ext uri="{FF2B5EF4-FFF2-40B4-BE49-F238E27FC236}">
                <a16:creationId xmlns:a16="http://schemas.microsoft.com/office/drawing/2014/main" id="{A722EF50-2FBC-4106-B8DA-5D2F9924F4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208" y="2381032"/>
            <a:ext cx="395844" cy="395844"/>
          </a:xfrm>
          <a:prstGeom prst="rect">
            <a:avLst/>
          </a:prstGeom>
        </p:spPr>
      </p:pic>
      <p:pic>
        <p:nvPicPr>
          <p:cNvPr id="16" name="Grafik 27">
            <a:extLst>
              <a:ext uri="{FF2B5EF4-FFF2-40B4-BE49-F238E27FC236}">
                <a16:creationId xmlns:a16="http://schemas.microsoft.com/office/drawing/2014/main" id="{11AA045B-9531-47C5-9B41-C3148F3C0B0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1918416"/>
            <a:ext cx="215916" cy="215916"/>
          </a:xfrm>
          <a:prstGeom prst="rect">
            <a:avLst/>
          </a:prstGeom>
        </p:spPr>
      </p:pic>
      <p:pic>
        <p:nvPicPr>
          <p:cNvPr id="17" name="Grafik 27">
            <a:extLst>
              <a:ext uri="{FF2B5EF4-FFF2-40B4-BE49-F238E27FC236}">
                <a16:creationId xmlns:a16="http://schemas.microsoft.com/office/drawing/2014/main" id="{415C11ED-E329-44E3-A4D4-C1F8178D1CB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177540"/>
            <a:ext cx="215916" cy="215916"/>
          </a:xfrm>
          <a:prstGeom prst="rect">
            <a:avLst/>
          </a:prstGeom>
        </p:spPr>
      </p:pic>
      <p:pic>
        <p:nvPicPr>
          <p:cNvPr id="18" name="Grafik 27">
            <a:extLst>
              <a:ext uri="{FF2B5EF4-FFF2-40B4-BE49-F238E27FC236}">
                <a16:creationId xmlns:a16="http://schemas.microsoft.com/office/drawing/2014/main" id="{6996B917-7CB2-4168-92E3-E032DF55A3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436665"/>
            <a:ext cx="215916" cy="215916"/>
          </a:xfrm>
          <a:prstGeom prst="rect">
            <a:avLst/>
          </a:prstGeom>
        </p:spPr>
      </p:pic>
      <p:pic>
        <p:nvPicPr>
          <p:cNvPr id="19" name="Grafik 27">
            <a:extLst>
              <a:ext uri="{FF2B5EF4-FFF2-40B4-BE49-F238E27FC236}">
                <a16:creationId xmlns:a16="http://schemas.microsoft.com/office/drawing/2014/main" id="{EE19F597-00CA-426C-A316-8E03F4DF08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703725"/>
            <a:ext cx="215916" cy="215916"/>
          </a:xfrm>
          <a:prstGeom prst="rect">
            <a:avLst/>
          </a:prstGeom>
        </p:spPr>
      </p:pic>
      <p:pic>
        <p:nvPicPr>
          <p:cNvPr id="20" name="Grafik 27">
            <a:extLst>
              <a:ext uri="{FF2B5EF4-FFF2-40B4-BE49-F238E27FC236}">
                <a16:creationId xmlns:a16="http://schemas.microsoft.com/office/drawing/2014/main" id="{17BD6685-468E-47DB-A3FD-9EAEC9442E0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954917"/>
            <a:ext cx="215916" cy="215916"/>
          </a:xfrm>
          <a:prstGeom prst="rect">
            <a:avLst/>
          </a:prstGeom>
        </p:spPr>
      </p:pic>
      <p:pic>
        <p:nvPicPr>
          <p:cNvPr id="21" name="Grafik 27">
            <a:extLst>
              <a:ext uri="{FF2B5EF4-FFF2-40B4-BE49-F238E27FC236}">
                <a16:creationId xmlns:a16="http://schemas.microsoft.com/office/drawing/2014/main" id="{94D360B1-A410-425A-A9C3-D8EFF883DF0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3444172"/>
            <a:ext cx="215916" cy="215916"/>
          </a:xfrm>
          <a:prstGeom prst="rect">
            <a:avLst/>
          </a:prstGeom>
        </p:spPr>
      </p:pic>
      <p:pic>
        <p:nvPicPr>
          <p:cNvPr id="23" name="Grafik 27">
            <a:extLst>
              <a:ext uri="{FF2B5EF4-FFF2-40B4-BE49-F238E27FC236}">
                <a16:creationId xmlns:a16="http://schemas.microsoft.com/office/drawing/2014/main" id="{08A3DADB-8A0A-44E6-90B9-F3BDCAAD790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3936023"/>
            <a:ext cx="215916" cy="215916"/>
          </a:xfrm>
          <a:prstGeom prst="rect">
            <a:avLst/>
          </a:prstGeom>
        </p:spPr>
      </p:pic>
      <p:pic>
        <p:nvPicPr>
          <p:cNvPr id="24" name="Grafik 27">
            <a:extLst>
              <a:ext uri="{FF2B5EF4-FFF2-40B4-BE49-F238E27FC236}">
                <a16:creationId xmlns:a16="http://schemas.microsoft.com/office/drawing/2014/main" id="{242B8EF3-5B39-4C1B-B53E-5720D978B3A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185916"/>
            <a:ext cx="215916" cy="215916"/>
          </a:xfrm>
          <a:prstGeom prst="rect">
            <a:avLst/>
          </a:prstGeom>
        </p:spPr>
      </p:pic>
      <p:pic>
        <p:nvPicPr>
          <p:cNvPr id="25" name="Grafik 27">
            <a:extLst>
              <a:ext uri="{FF2B5EF4-FFF2-40B4-BE49-F238E27FC236}">
                <a16:creationId xmlns:a16="http://schemas.microsoft.com/office/drawing/2014/main" id="{B9AE6BE6-498C-4FBC-BEE1-9697FD7AB2A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426576"/>
            <a:ext cx="215916" cy="215916"/>
          </a:xfrm>
          <a:prstGeom prst="rect">
            <a:avLst/>
          </a:prstGeom>
        </p:spPr>
      </p:pic>
      <p:pic>
        <p:nvPicPr>
          <p:cNvPr id="26" name="Grafik 27">
            <a:extLst>
              <a:ext uri="{FF2B5EF4-FFF2-40B4-BE49-F238E27FC236}">
                <a16:creationId xmlns:a16="http://schemas.microsoft.com/office/drawing/2014/main" id="{B83CB174-C611-4377-865B-8AE88BC066A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676466"/>
            <a:ext cx="215916" cy="215916"/>
          </a:xfrm>
          <a:prstGeom prst="rect">
            <a:avLst/>
          </a:prstGeom>
        </p:spPr>
      </p:pic>
      <p:pic>
        <p:nvPicPr>
          <p:cNvPr id="27" name="Grafik 27">
            <a:extLst>
              <a:ext uri="{FF2B5EF4-FFF2-40B4-BE49-F238E27FC236}">
                <a16:creationId xmlns:a16="http://schemas.microsoft.com/office/drawing/2014/main" id="{DFE80895-3825-4626-8AB6-3E1BB0895A6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5445907"/>
            <a:ext cx="215916" cy="215916"/>
          </a:xfrm>
          <a:prstGeom prst="rect">
            <a:avLst/>
          </a:prstGeom>
        </p:spPr>
      </p:pic>
      <p:pic>
        <p:nvPicPr>
          <p:cNvPr id="29" name="Grafik 27">
            <a:extLst>
              <a:ext uri="{FF2B5EF4-FFF2-40B4-BE49-F238E27FC236}">
                <a16:creationId xmlns:a16="http://schemas.microsoft.com/office/drawing/2014/main" id="{E636E008-046A-49AD-993B-71B43B00A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935593"/>
            <a:ext cx="215916" cy="215916"/>
          </a:xfrm>
          <a:prstGeom prst="rect">
            <a:avLst/>
          </a:prstGeom>
        </p:spPr>
      </p:pic>
      <p:pic>
        <p:nvPicPr>
          <p:cNvPr id="31" name="Picture 6" descr="BASF is the first chemical company to certify biomass balanced products  acording to new REDcert2 standard for the chemical industry">
            <a:extLst>
              <a:ext uri="{FF2B5EF4-FFF2-40B4-BE49-F238E27FC236}">
                <a16:creationId xmlns:a16="http://schemas.microsoft.com/office/drawing/2014/main" id="{82C5F9F8-35F0-49C0-AE72-42EF1DA75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355" y="3260146"/>
            <a:ext cx="636673" cy="35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Grafik 27">
            <a:extLst>
              <a:ext uri="{FF2B5EF4-FFF2-40B4-BE49-F238E27FC236}">
                <a16:creationId xmlns:a16="http://schemas.microsoft.com/office/drawing/2014/main" id="{86742743-FD6C-4A6C-BDDA-D5CF7E7B232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3186346"/>
            <a:ext cx="215916" cy="215916"/>
          </a:xfrm>
          <a:prstGeom prst="rect">
            <a:avLst/>
          </a:prstGeom>
        </p:spPr>
      </p:pic>
      <p:pic>
        <p:nvPicPr>
          <p:cNvPr id="33" name="Grafik 27">
            <a:extLst>
              <a:ext uri="{FF2B5EF4-FFF2-40B4-BE49-F238E27FC236}">
                <a16:creationId xmlns:a16="http://schemas.microsoft.com/office/drawing/2014/main" id="{EB6CA82F-B3D9-46B6-AEDA-B96E1A73C8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5196018"/>
            <a:ext cx="215916" cy="215916"/>
          </a:xfrm>
          <a:prstGeom prst="rect">
            <a:avLst/>
          </a:prstGeom>
        </p:spPr>
      </p:pic>
      <p:pic>
        <p:nvPicPr>
          <p:cNvPr id="34" name="Grafik 27">
            <a:extLst>
              <a:ext uri="{FF2B5EF4-FFF2-40B4-BE49-F238E27FC236}">
                <a16:creationId xmlns:a16="http://schemas.microsoft.com/office/drawing/2014/main" id="{C9D39B9D-D2E9-4E27-BB87-96291E42FA3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5697102"/>
            <a:ext cx="215916" cy="215916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E60D5799-0D4E-410C-B9B2-D19EEED57E45}"/>
              </a:ext>
            </a:extLst>
          </p:cNvPr>
          <p:cNvGrpSpPr/>
          <p:nvPr/>
        </p:nvGrpSpPr>
        <p:grpSpPr>
          <a:xfrm>
            <a:off x="5976578" y="2160086"/>
            <a:ext cx="215916" cy="215916"/>
            <a:chOff x="521436" y="3552101"/>
            <a:chExt cx="571170" cy="525238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56F0F9F6-8A2E-4787-9347-F04C20F01F17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Grafik 1863">
              <a:extLst>
                <a:ext uri="{FF2B5EF4-FFF2-40B4-BE49-F238E27FC236}">
                  <a16:creationId xmlns:a16="http://schemas.microsoft.com/office/drawing/2014/main" id="{5F6FABF0-53C9-4CED-86CA-0FFBC92CDDCF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95EC215-B250-4251-9C09-71A0A39C9725}"/>
              </a:ext>
            </a:extLst>
          </p:cNvPr>
          <p:cNvGrpSpPr/>
          <p:nvPr/>
        </p:nvGrpSpPr>
        <p:grpSpPr>
          <a:xfrm>
            <a:off x="8758453" y="3271772"/>
            <a:ext cx="395844" cy="395844"/>
            <a:chOff x="348277" y="3596768"/>
            <a:chExt cx="571170" cy="525238"/>
          </a:xfrm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95A4E796-E359-4E93-ABED-0DBE79B7F9FC}"/>
                </a:ext>
              </a:extLst>
            </p:cNvPr>
            <p:cNvSpPr/>
            <p:nvPr/>
          </p:nvSpPr>
          <p:spPr>
            <a:xfrm>
              <a:off x="348277" y="3596768"/>
              <a:ext cx="571170" cy="5252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Grafik 1863">
              <a:extLst>
                <a:ext uri="{FF2B5EF4-FFF2-40B4-BE49-F238E27FC236}">
                  <a16:creationId xmlns:a16="http://schemas.microsoft.com/office/drawing/2014/main" id="{FA11EF9E-7580-4EFE-9145-4576B4558E2D}"/>
                </a:ext>
              </a:extLst>
            </p:cNvPr>
            <p:cNvSpPr/>
            <p:nvPr/>
          </p:nvSpPr>
          <p:spPr>
            <a:xfrm>
              <a:off x="348277" y="3596768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9C3CD16-BE76-4377-8BF5-A78172C39893}"/>
              </a:ext>
            </a:extLst>
          </p:cNvPr>
          <p:cNvGrpSpPr/>
          <p:nvPr/>
        </p:nvGrpSpPr>
        <p:grpSpPr>
          <a:xfrm>
            <a:off x="5976578" y="2413181"/>
            <a:ext cx="215916" cy="215916"/>
            <a:chOff x="521436" y="3552101"/>
            <a:chExt cx="571170" cy="525238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757919EA-1188-417C-B155-7666B604C61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Grafik 1863">
              <a:extLst>
                <a:ext uri="{FF2B5EF4-FFF2-40B4-BE49-F238E27FC236}">
                  <a16:creationId xmlns:a16="http://schemas.microsoft.com/office/drawing/2014/main" id="{79A6AE15-A857-430E-B002-85470F1BC8C7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0B1165D-AB80-4505-B5FF-B849FB5E6894}"/>
              </a:ext>
            </a:extLst>
          </p:cNvPr>
          <p:cNvGrpSpPr/>
          <p:nvPr/>
        </p:nvGrpSpPr>
        <p:grpSpPr>
          <a:xfrm>
            <a:off x="5976578" y="2666276"/>
            <a:ext cx="215916" cy="215916"/>
            <a:chOff x="521436" y="3552101"/>
            <a:chExt cx="571170" cy="525238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98272659-3A6A-4963-B16A-DEB6E1482B54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Grafik 1863">
              <a:extLst>
                <a:ext uri="{FF2B5EF4-FFF2-40B4-BE49-F238E27FC236}">
                  <a16:creationId xmlns:a16="http://schemas.microsoft.com/office/drawing/2014/main" id="{A40B9568-FCC5-4098-AE80-9EB64CFD5427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474346D-F897-4C9B-8F90-88EDA4162F5A}"/>
              </a:ext>
            </a:extLst>
          </p:cNvPr>
          <p:cNvGrpSpPr/>
          <p:nvPr/>
        </p:nvGrpSpPr>
        <p:grpSpPr>
          <a:xfrm>
            <a:off x="5976578" y="2919371"/>
            <a:ext cx="215916" cy="215916"/>
            <a:chOff x="521436" y="3552101"/>
            <a:chExt cx="571170" cy="525238"/>
          </a:xfrm>
        </p:grpSpPr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BB194BDD-5D65-4A73-9294-D6C5191486A3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Grafik 1863">
              <a:extLst>
                <a:ext uri="{FF2B5EF4-FFF2-40B4-BE49-F238E27FC236}">
                  <a16:creationId xmlns:a16="http://schemas.microsoft.com/office/drawing/2014/main" id="{DF0E388D-B6EE-43B4-97BE-162111930294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F99EC6A8-FD09-456A-87E4-E37416861F37}"/>
              </a:ext>
            </a:extLst>
          </p:cNvPr>
          <p:cNvGrpSpPr/>
          <p:nvPr/>
        </p:nvGrpSpPr>
        <p:grpSpPr>
          <a:xfrm>
            <a:off x="5976578" y="3172466"/>
            <a:ext cx="215916" cy="215916"/>
            <a:chOff x="521436" y="3552101"/>
            <a:chExt cx="571170" cy="525238"/>
          </a:xfrm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5E937E16-3B64-44ED-A84B-0687151F603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rafik 1863">
              <a:extLst>
                <a:ext uri="{FF2B5EF4-FFF2-40B4-BE49-F238E27FC236}">
                  <a16:creationId xmlns:a16="http://schemas.microsoft.com/office/drawing/2014/main" id="{5D3901EC-DE2C-4786-B1C5-CB16099FB3A0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4630D0BC-B1CA-4850-AA45-E3CDD50E25AB}"/>
              </a:ext>
            </a:extLst>
          </p:cNvPr>
          <p:cNvGrpSpPr/>
          <p:nvPr/>
        </p:nvGrpSpPr>
        <p:grpSpPr>
          <a:xfrm>
            <a:off x="5976578" y="3425560"/>
            <a:ext cx="215916" cy="215916"/>
            <a:chOff x="521436" y="3552101"/>
            <a:chExt cx="571170" cy="525238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67492B7-617E-4053-8431-086CB16187B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Grafik 1863">
              <a:extLst>
                <a:ext uri="{FF2B5EF4-FFF2-40B4-BE49-F238E27FC236}">
                  <a16:creationId xmlns:a16="http://schemas.microsoft.com/office/drawing/2014/main" id="{ECCFEB21-85EC-43B2-87BE-F6601D7ED901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90BA6526-11B5-46E6-BCA7-24C9E80F11A4}"/>
              </a:ext>
            </a:extLst>
          </p:cNvPr>
          <p:cNvGrpSpPr/>
          <p:nvPr/>
        </p:nvGrpSpPr>
        <p:grpSpPr>
          <a:xfrm>
            <a:off x="5976578" y="4178884"/>
            <a:ext cx="215916" cy="215916"/>
            <a:chOff x="521436" y="3552101"/>
            <a:chExt cx="571170" cy="525238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5951C669-7D9D-46D4-AE1A-3B8E68818C20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Grafik 1863">
              <a:extLst>
                <a:ext uri="{FF2B5EF4-FFF2-40B4-BE49-F238E27FC236}">
                  <a16:creationId xmlns:a16="http://schemas.microsoft.com/office/drawing/2014/main" id="{E5A222AB-82D3-4070-B64D-10201EA79E89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52E1A55-EDF4-4ECD-B98A-4A8EB0B96D00}"/>
              </a:ext>
            </a:extLst>
          </p:cNvPr>
          <p:cNvGrpSpPr/>
          <p:nvPr/>
        </p:nvGrpSpPr>
        <p:grpSpPr>
          <a:xfrm>
            <a:off x="5976578" y="4679270"/>
            <a:ext cx="215916" cy="215916"/>
            <a:chOff x="521436" y="3552101"/>
            <a:chExt cx="571170" cy="525238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6C822145-8311-43EB-8FEA-CADDF1744A95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Grafik 1863">
              <a:extLst>
                <a:ext uri="{FF2B5EF4-FFF2-40B4-BE49-F238E27FC236}">
                  <a16:creationId xmlns:a16="http://schemas.microsoft.com/office/drawing/2014/main" id="{9FA5E03C-2172-4D37-BEA9-5E3214F248DB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51FFFA24-CCFB-4166-A014-D216611EABB9}"/>
              </a:ext>
            </a:extLst>
          </p:cNvPr>
          <p:cNvGrpSpPr/>
          <p:nvPr/>
        </p:nvGrpSpPr>
        <p:grpSpPr>
          <a:xfrm>
            <a:off x="5976578" y="5164785"/>
            <a:ext cx="215916" cy="215916"/>
            <a:chOff x="521436" y="3552101"/>
            <a:chExt cx="571170" cy="525238"/>
          </a:xfrm>
        </p:grpSpPr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0A10FB36-0EAA-448F-BD44-B726204F7E96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Grafik 1863">
              <a:extLst>
                <a:ext uri="{FF2B5EF4-FFF2-40B4-BE49-F238E27FC236}">
                  <a16:creationId xmlns:a16="http://schemas.microsoft.com/office/drawing/2014/main" id="{A53AAC9A-238D-4934-971E-ADFDF3AA7EC8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6B36DC97-2F17-4792-B8D5-F9A0B303A947}"/>
              </a:ext>
            </a:extLst>
          </p:cNvPr>
          <p:cNvGrpSpPr/>
          <p:nvPr/>
        </p:nvGrpSpPr>
        <p:grpSpPr>
          <a:xfrm>
            <a:off x="5976578" y="4429078"/>
            <a:ext cx="215916" cy="215916"/>
            <a:chOff x="521436" y="3552101"/>
            <a:chExt cx="571170" cy="525238"/>
          </a:xfrm>
        </p:grpSpPr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39C61CD6-0759-4AA0-BF1F-4D77ADF8D05B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Grafik 1863">
              <a:extLst>
                <a:ext uri="{FF2B5EF4-FFF2-40B4-BE49-F238E27FC236}">
                  <a16:creationId xmlns:a16="http://schemas.microsoft.com/office/drawing/2014/main" id="{5E0453AD-14AA-4D39-9E68-52C39F9C2063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0" name="Gruppieren 69">
            <a:extLst>
              <a:ext uri="{FF2B5EF4-FFF2-40B4-BE49-F238E27FC236}">
                <a16:creationId xmlns:a16="http://schemas.microsoft.com/office/drawing/2014/main" id="{B938A841-8732-445F-A5F7-9B149C70A3B7}"/>
              </a:ext>
            </a:extLst>
          </p:cNvPr>
          <p:cNvGrpSpPr/>
          <p:nvPr/>
        </p:nvGrpSpPr>
        <p:grpSpPr>
          <a:xfrm>
            <a:off x="5976578" y="5434838"/>
            <a:ext cx="215916" cy="215916"/>
            <a:chOff x="521436" y="3552101"/>
            <a:chExt cx="571170" cy="525238"/>
          </a:xfrm>
        </p:grpSpPr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0AA59829-E01D-41F4-B4E7-8BCA429271C9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Grafik 1863">
              <a:extLst>
                <a:ext uri="{FF2B5EF4-FFF2-40B4-BE49-F238E27FC236}">
                  <a16:creationId xmlns:a16="http://schemas.microsoft.com/office/drawing/2014/main" id="{59B809F1-908E-4121-922F-6F07E61DC342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73" name="Gruppieren 72">
            <a:extLst>
              <a:ext uri="{FF2B5EF4-FFF2-40B4-BE49-F238E27FC236}">
                <a16:creationId xmlns:a16="http://schemas.microsoft.com/office/drawing/2014/main" id="{6A8821A7-8C8F-428B-8E47-D931FAEC58E6}"/>
              </a:ext>
            </a:extLst>
          </p:cNvPr>
          <p:cNvGrpSpPr/>
          <p:nvPr/>
        </p:nvGrpSpPr>
        <p:grpSpPr>
          <a:xfrm>
            <a:off x="5976578" y="5911716"/>
            <a:ext cx="215916" cy="215916"/>
            <a:chOff x="521436" y="3552101"/>
            <a:chExt cx="571170" cy="525238"/>
          </a:xfrm>
        </p:grpSpPr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0CBB5AA4-E79B-4ED5-931B-EE15645167B2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Grafik 1863">
              <a:extLst>
                <a:ext uri="{FF2B5EF4-FFF2-40B4-BE49-F238E27FC236}">
                  <a16:creationId xmlns:a16="http://schemas.microsoft.com/office/drawing/2014/main" id="{B265ED1E-B8C0-40A3-ADC4-8AA7B7AAC0AF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2" name="TextBox 4">
            <a:extLst>
              <a:ext uri="{FF2B5EF4-FFF2-40B4-BE49-F238E27FC236}">
                <a16:creationId xmlns:a16="http://schemas.microsoft.com/office/drawing/2014/main" id="{494038C8-800D-4EB3-A15A-13DAC2A46C65}"/>
              </a:ext>
            </a:extLst>
          </p:cNvPr>
          <p:cNvSpPr txBox="1"/>
          <p:nvPr/>
        </p:nvSpPr>
        <p:spPr>
          <a:xfrm>
            <a:off x="9251034" y="3209560"/>
            <a:ext cx="2027577" cy="507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Renewable Feedstock:</a:t>
            </a:r>
          </a:p>
          <a:p>
            <a:r>
              <a:rPr lang="en-US" sz="1100"/>
              <a:t>Biomass Balance </a:t>
            </a:r>
            <a:r>
              <a:rPr lang="en-US" sz="1100" err="1"/>
              <a:t>BMBcert</a:t>
            </a:r>
            <a:r>
              <a:rPr lang="en-US" sz="1100"/>
              <a:t>™, certified by </a:t>
            </a:r>
            <a:r>
              <a:rPr lang="en-US" sz="1100" err="1"/>
              <a:t>REDcert</a:t>
            </a:r>
            <a:endParaRPr lang="en-US" sz="1100"/>
          </a:p>
        </p:txBody>
      </p: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6817D47F-3B3B-4EE1-A719-BB87175B4D2E}"/>
              </a:ext>
            </a:extLst>
          </p:cNvPr>
          <p:cNvGrpSpPr/>
          <p:nvPr/>
        </p:nvGrpSpPr>
        <p:grpSpPr>
          <a:xfrm>
            <a:off x="8758453" y="4168487"/>
            <a:ext cx="395844" cy="395844"/>
            <a:chOff x="7363789" y="3245211"/>
            <a:chExt cx="720000" cy="720000"/>
          </a:xfrm>
        </p:grpSpPr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07E6D997-E2F5-4AE3-AF9D-D9357ACA594D}"/>
                </a:ext>
              </a:extLst>
            </p:cNvPr>
            <p:cNvSpPr/>
            <p:nvPr/>
          </p:nvSpPr>
          <p:spPr>
            <a:xfrm>
              <a:off x="7363789" y="3245211"/>
              <a:ext cx="720000" cy="720000"/>
            </a:xfrm>
            <a:prstGeom prst="ellipse">
              <a:avLst/>
            </a:prstGeom>
            <a:solidFill>
              <a:srgbClr val="65AC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8" name="Grafik 33">
              <a:extLst>
                <a:ext uri="{FF2B5EF4-FFF2-40B4-BE49-F238E27FC236}">
                  <a16:creationId xmlns:a16="http://schemas.microsoft.com/office/drawing/2014/main" id="{863DE820-7FFF-47CC-A3FB-4F86D0C39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5850" y="3400968"/>
              <a:ext cx="575999" cy="408486"/>
            </a:xfrm>
            <a:prstGeom prst="rect">
              <a:avLst/>
            </a:prstGeom>
          </p:spPr>
        </p:pic>
      </p:grpSp>
      <p:sp>
        <p:nvSpPr>
          <p:cNvPr id="89" name="TextBox 4">
            <a:extLst>
              <a:ext uri="{FF2B5EF4-FFF2-40B4-BE49-F238E27FC236}">
                <a16:creationId xmlns:a16="http://schemas.microsoft.com/office/drawing/2014/main" id="{66485CD0-E108-454E-893B-7824346D30FB}"/>
              </a:ext>
            </a:extLst>
          </p:cNvPr>
          <p:cNvSpPr txBox="1"/>
          <p:nvPr/>
        </p:nvSpPr>
        <p:spPr>
          <a:xfrm>
            <a:off x="9251031" y="4013822"/>
            <a:ext cx="2626974" cy="67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Product Carbon Footprint:</a:t>
            </a:r>
          </a:p>
          <a:p>
            <a:r>
              <a:rPr lang="en-US" sz="1100"/>
              <a:t>Calculation of product-related greenhouse gas emissions that occur until product leaves factory gate</a:t>
            </a: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7D3AD238-BC0C-44DE-8E93-1E95746FF4D4}"/>
              </a:ext>
            </a:extLst>
          </p:cNvPr>
          <p:cNvSpPr txBox="1"/>
          <p:nvPr/>
        </p:nvSpPr>
        <p:spPr>
          <a:xfrm>
            <a:off x="8799393" y="1793040"/>
            <a:ext cx="2541796" cy="507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Biodegradability:</a:t>
            </a:r>
          </a:p>
          <a:p>
            <a:r>
              <a:rPr lang="en-US" sz="1100"/>
              <a:t>Ingredients that do not persist in the environment following OECD guidelin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F882B98-9776-4A4C-9266-BB5F9C760B2D}"/>
              </a:ext>
            </a:extLst>
          </p:cNvPr>
          <p:cNvSpPr/>
          <p:nvPr/>
        </p:nvSpPr>
        <p:spPr>
          <a:xfrm>
            <a:off x="8606473" y="1708920"/>
            <a:ext cx="3346692" cy="3144549"/>
          </a:xfrm>
          <a:prstGeom prst="rect">
            <a:avLst/>
          </a:prstGeom>
          <a:noFill/>
          <a:ln>
            <a:solidFill>
              <a:srgbClr val="95C6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84"/>
            <a:endParaRPr lang="de-DE" sz="1350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pic>
        <p:nvPicPr>
          <p:cNvPr id="92" name="Grafik 100">
            <a:extLst>
              <a:ext uri="{FF2B5EF4-FFF2-40B4-BE49-F238E27FC236}">
                <a16:creationId xmlns:a16="http://schemas.microsoft.com/office/drawing/2014/main" id="{E7829B64-3BA4-42FF-AFBA-0D34CDD9A87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4" y="3675013"/>
            <a:ext cx="215916" cy="215916"/>
          </a:xfrm>
          <a:prstGeom prst="rect">
            <a:avLst/>
          </a:prstGeom>
        </p:spPr>
      </p:pic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C63EDC5B-1628-48F7-AD39-2B8FDD095917}"/>
              </a:ext>
            </a:extLst>
          </p:cNvPr>
          <p:cNvGrpSpPr/>
          <p:nvPr/>
        </p:nvGrpSpPr>
        <p:grpSpPr>
          <a:xfrm>
            <a:off x="5985521" y="1903362"/>
            <a:ext cx="215916" cy="215916"/>
            <a:chOff x="521436" y="3552101"/>
            <a:chExt cx="571170" cy="525238"/>
          </a:xfrm>
        </p:grpSpPr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ABF6CDF3-3F25-4248-A4F1-380035232EBB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rafik 1863">
              <a:extLst>
                <a:ext uri="{FF2B5EF4-FFF2-40B4-BE49-F238E27FC236}">
                  <a16:creationId xmlns:a16="http://schemas.microsoft.com/office/drawing/2014/main" id="{72BC7098-692E-448C-9850-05F44F6DCE83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8A825FEB-B6A2-4AAA-BE4F-AC0B573B3C34}"/>
              </a:ext>
            </a:extLst>
          </p:cNvPr>
          <p:cNvGrpSpPr/>
          <p:nvPr/>
        </p:nvGrpSpPr>
        <p:grpSpPr>
          <a:xfrm>
            <a:off x="5958428" y="3905778"/>
            <a:ext cx="215916" cy="215916"/>
            <a:chOff x="521436" y="3552101"/>
            <a:chExt cx="571170" cy="525238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70E38F4A-BE0C-4403-9ED7-4905E4517093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Grafik 1863">
              <a:extLst>
                <a:ext uri="{FF2B5EF4-FFF2-40B4-BE49-F238E27FC236}">
                  <a16:creationId xmlns:a16="http://schemas.microsoft.com/office/drawing/2014/main" id="{7EE6DB51-E79C-48B1-B149-E919DAB9DED5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100" name="Grafik 99">
            <a:extLst>
              <a:ext uri="{FF2B5EF4-FFF2-40B4-BE49-F238E27FC236}">
                <a16:creationId xmlns:a16="http://schemas.microsoft.com/office/drawing/2014/main" id="{9E9F801C-F83F-4992-A5A3-16FD3B305A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4" y="5929708"/>
            <a:ext cx="215916" cy="215916"/>
          </a:xfrm>
          <a:prstGeom prst="rect">
            <a:avLst/>
          </a:prstGeom>
        </p:spPr>
      </p:pic>
      <p:grpSp>
        <p:nvGrpSpPr>
          <p:cNvPr id="101" name="Gruppieren 100">
            <a:extLst>
              <a:ext uri="{FF2B5EF4-FFF2-40B4-BE49-F238E27FC236}">
                <a16:creationId xmlns:a16="http://schemas.microsoft.com/office/drawing/2014/main" id="{A87F8D13-13D2-4550-B90A-9F0C22C50641}"/>
              </a:ext>
            </a:extLst>
          </p:cNvPr>
          <p:cNvGrpSpPr/>
          <p:nvPr/>
        </p:nvGrpSpPr>
        <p:grpSpPr>
          <a:xfrm>
            <a:off x="5976420" y="5677797"/>
            <a:ext cx="215916" cy="215916"/>
            <a:chOff x="521436" y="3552101"/>
            <a:chExt cx="571170" cy="525238"/>
          </a:xfrm>
        </p:grpSpPr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34F19E1C-3839-4A94-A18C-74E22D536D34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Grafik 1863">
              <a:extLst>
                <a:ext uri="{FF2B5EF4-FFF2-40B4-BE49-F238E27FC236}">
                  <a16:creationId xmlns:a16="http://schemas.microsoft.com/office/drawing/2014/main" id="{F981800A-B158-4F9A-99D5-BB364555D3BB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6EC6608D-DE60-4093-8358-6780D3179967}"/>
              </a:ext>
            </a:extLst>
          </p:cNvPr>
          <p:cNvGrpSpPr/>
          <p:nvPr/>
        </p:nvGrpSpPr>
        <p:grpSpPr>
          <a:xfrm>
            <a:off x="5958428" y="3669928"/>
            <a:ext cx="215916" cy="215916"/>
            <a:chOff x="521436" y="3552101"/>
            <a:chExt cx="571170" cy="525238"/>
          </a:xfrm>
        </p:grpSpPr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5CD32AB3-BC44-4222-A497-BAED6969A508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5" name="Grafik 1863">
              <a:extLst>
                <a:ext uri="{FF2B5EF4-FFF2-40B4-BE49-F238E27FC236}">
                  <a16:creationId xmlns:a16="http://schemas.microsoft.com/office/drawing/2014/main" id="{E91303D9-3CF6-444A-B98F-6AA2B694D08D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06" name="Gruppieren 105">
            <a:extLst>
              <a:ext uri="{FF2B5EF4-FFF2-40B4-BE49-F238E27FC236}">
                <a16:creationId xmlns:a16="http://schemas.microsoft.com/office/drawing/2014/main" id="{0B120495-8C70-489B-B1D7-2A6A9FC5EB31}"/>
              </a:ext>
            </a:extLst>
          </p:cNvPr>
          <p:cNvGrpSpPr/>
          <p:nvPr/>
        </p:nvGrpSpPr>
        <p:grpSpPr>
          <a:xfrm>
            <a:off x="5978966" y="4923725"/>
            <a:ext cx="215916" cy="215916"/>
            <a:chOff x="521436" y="3552101"/>
            <a:chExt cx="571170" cy="525238"/>
          </a:xfrm>
        </p:grpSpPr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67A9988A-BF24-444E-9573-E5DB2A2316C1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8" name="Grafik 1863">
              <a:extLst>
                <a:ext uri="{FF2B5EF4-FFF2-40B4-BE49-F238E27FC236}">
                  <a16:creationId xmlns:a16="http://schemas.microsoft.com/office/drawing/2014/main" id="{740766FD-7BB2-4519-BB63-CC1324804892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83BCC12-658B-4B31-BC37-C9CFD1A258B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41739E6E-F75F-4901-B1CC-46D19349CDAB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74FC1C-49E3-4B36-9BA6-AD746A009D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C5EBF8-969A-48A1-B532-A7147DD49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196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9C672F4-E1EF-4106-8140-81A1F91DB9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821854"/>
              </p:ext>
            </p:extLst>
          </p:nvPr>
        </p:nvGraphicFramePr>
        <p:xfrm>
          <a:off x="3173" y="29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9C672F4-E1EF-4106-8140-81A1F91DB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3" y="29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DF7861C-4A78-45D3-874C-7379F2AF5C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102" y="161263"/>
            <a:ext cx="11731416" cy="852978"/>
          </a:xfrm>
        </p:spPr>
        <p:txBody>
          <a:bodyPr vert="horz"/>
          <a:lstStyle/>
          <a:p>
            <a:r>
              <a:rPr lang="en-US"/>
              <a:t>The majority of our portfolio is available as </a:t>
            </a:r>
            <a:r>
              <a:rPr lang="en-US" err="1"/>
              <a:t>BMBcert</a:t>
            </a:r>
            <a:r>
              <a:rPr lang="en-US" baseline="30000" err="1"/>
              <a:t>TM</a:t>
            </a:r>
            <a:br>
              <a:rPr lang="en-US"/>
            </a:br>
            <a:r>
              <a:rPr lang="en-US"/>
              <a:t>BASF </a:t>
            </a:r>
            <a:r>
              <a:rPr lang="en-US" err="1"/>
              <a:t>BMBcert</a:t>
            </a:r>
            <a:r>
              <a:rPr lang="en-US" baseline="30000" err="1"/>
              <a:t>TM</a:t>
            </a:r>
            <a:r>
              <a:rPr lang="en-US"/>
              <a:t> Portfolio (2/2)</a:t>
            </a:r>
            <a:endParaRPr lang="de-DE">
              <a:solidFill>
                <a:srgbClr val="FFC000"/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8CA3384-D4B5-49EE-934F-15F14BB2D2B6}"/>
              </a:ext>
            </a:extLst>
          </p:cNvPr>
          <p:cNvGraphicFramePr>
            <a:graphicFrameLocks noGrp="1"/>
          </p:cNvGraphicFramePr>
          <p:nvPr/>
        </p:nvGraphicFramePr>
        <p:xfrm>
          <a:off x="323538" y="1243525"/>
          <a:ext cx="8065964" cy="3656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19409">
                  <a:extLst>
                    <a:ext uri="{9D8B030D-6E8A-4147-A177-3AD203B41FA5}">
                      <a16:colId xmlns:a16="http://schemas.microsoft.com/office/drawing/2014/main" val="256147749"/>
                    </a:ext>
                  </a:extLst>
                </a:gridCol>
                <a:gridCol w="1849637">
                  <a:extLst>
                    <a:ext uri="{9D8B030D-6E8A-4147-A177-3AD203B41FA5}">
                      <a16:colId xmlns:a16="http://schemas.microsoft.com/office/drawing/2014/main" val="683205520"/>
                    </a:ext>
                  </a:extLst>
                </a:gridCol>
                <a:gridCol w="1898459">
                  <a:extLst>
                    <a:ext uri="{9D8B030D-6E8A-4147-A177-3AD203B41FA5}">
                      <a16:colId xmlns:a16="http://schemas.microsoft.com/office/drawing/2014/main" val="2798692263"/>
                    </a:ext>
                  </a:extLst>
                </a:gridCol>
                <a:gridCol w="1898459">
                  <a:extLst>
                    <a:ext uri="{9D8B030D-6E8A-4147-A177-3AD203B41FA5}">
                      <a16:colId xmlns:a16="http://schemas.microsoft.com/office/drawing/2014/main" val="1996342283"/>
                    </a:ext>
                  </a:extLst>
                </a:gridCol>
              </a:tblGrid>
              <a:tr h="639973"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BASF Aroma Ingredient</a:t>
                      </a: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PRODUCT OVERVIEW</a:t>
                      </a:r>
                    </a:p>
                  </a:txBody>
                  <a:tcPr marL="91404" marR="91404" marT="45702" marB="45702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BIODEGRADABLE</a:t>
                      </a:r>
                    </a:p>
                    <a:p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OECD Guidelines</a:t>
                      </a:r>
                    </a:p>
                  </a:txBody>
                  <a:tcPr marL="91404" marR="91404" marT="45702" marB="45702" anchor="b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BIOMASS BALANC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Renewable feedstock</a:t>
                      </a:r>
                      <a:endParaRPr lang="en-US" sz="1200" b="0" baseline="-2500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 anchor="b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PRODUCT CARBON FOOTPRINT (PCF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Reduced CO</a:t>
                      </a:r>
                      <a:r>
                        <a:rPr lang="en-US" sz="1200" b="0" baseline="-25000">
                          <a:solidFill>
                            <a:schemeClr val="tx1"/>
                          </a:solidFill>
                        </a:rPr>
                        <a:t>2 </a:t>
                      </a:r>
                      <a:r>
                        <a:rPr lang="en-US" sz="1200" b="0" baseline="0">
                          <a:solidFill>
                            <a:schemeClr val="tx1"/>
                          </a:solidFill>
                        </a:rPr>
                        <a:t>emissions</a:t>
                      </a:r>
                    </a:p>
                  </a:txBody>
                  <a:tcPr marL="91404" marR="91404" marT="45702" marB="45702" anchor="b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226443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-Menthol (incl. Flakes)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18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7300058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-Menthon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tbd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1615636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L-</a:t>
                      </a: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Menthyl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 Acetat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tbd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0787247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Lysmera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algn="l"/>
                      <a:r>
                        <a:rPr lang="en-US" sz="1000"/>
                        <a:t>not available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/>
                        <a:cs typeface="Arial"/>
                      </a:endParaRP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6310740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Methylionone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0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1654713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Ner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as of 2023</a:t>
                      </a: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cs typeface="Arial"/>
                        </a:rPr>
                        <a:t>tbd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7452865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Prenyl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 Acetat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30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63667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Pyran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44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634996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Rose Oxide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3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249279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Tetrahydrogerani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87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7613684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Tetrahydrolinalool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21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3035"/>
                  </a:ext>
                </a:extLst>
              </a:tr>
              <a:tr h="251361">
                <a:tc>
                  <a:txBody>
                    <a:bodyPr/>
                    <a:lstStyle/>
                    <a:p>
                      <a:pPr marL="0" marR="0" lvl="0" indent="0" algn="l" defTabSz="91430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err="1">
                          <a:solidFill>
                            <a:schemeClr val="tx1"/>
                          </a:solidFill>
                        </a:rPr>
                        <a:t>Velberry</a:t>
                      </a:r>
                      <a:r>
                        <a:rPr lang="en-US" sz="1000" b="1">
                          <a:solidFill>
                            <a:schemeClr val="tx1"/>
                          </a:solidFill>
                        </a:rPr>
                        <a:t>™</a:t>
                      </a:r>
                    </a:p>
                  </a:txBody>
                  <a:tcPr marL="91404" marR="91404" marT="45702" marB="4570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/>
                    </a:p>
                  </a:txBody>
                  <a:tcPr marL="91404" marR="91404" marT="45702" marB="45702">
                    <a:solidFill>
                      <a:srgbClr val="DAEFF8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err="1">
                          <a:solidFill>
                            <a:schemeClr val="tx1"/>
                          </a:solidFill>
                        </a:rPr>
                        <a:t>BMBcert</a:t>
                      </a:r>
                      <a:r>
                        <a:rPr lang="en-US" sz="1000" b="0" baseline="30000" err="1">
                          <a:solidFill>
                            <a:schemeClr val="tx1"/>
                          </a:solidFill>
                        </a:rPr>
                        <a:t>T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1404" marR="91404" marT="45702" marB="45702">
                    <a:solidFill>
                      <a:srgbClr val="E9F3DE"/>
                    </a:solidFill>
                  </a:tcPr>
                </a:tc>
                <a:tc>
                  <a:txBody>
                    <a:bodyPr/>
                    <a:lstStyle/>
                    <a:p>
                      <a:pPr marL="360000" marR="0" lvl="0" indent="0" algn="l" defTabSz="9144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</a:rPr>
                        <a:t>Save 70%</a:t>
                      </a:r>
                    </a:p>
                  </a:txBody>
                  <a:tcPr marL="91404" marR="91404" marT="45702" marB="45702">
                    <a:solidFill>
                      <a:srgbClr val="E0EF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404368"/>
                  </a:ext>
                </a:extLst>
              </a:tr>
            </a:tbl>
          </a:graphicData>
        </a:graphic>
      </p:graphicFrame>
      <p:sp>
        <p:nvSpPr>
          <p:cNvPr id="12" name="TextBox 4">
            <a:extLst>
              <a:ext uri="{FF2B5EF4-FFF2-40B4-BE49-F238E27FC236}">
                <a16:creationId xmlns:a16="http://schemas.microsoft.com/office/drawing/2014/main" id="{8C623231-C46C-4D5E-BB50-AC3EC627B686}"/>
              </a:ext>
            </a:extLst>
          </p:cNvPr>
          <p:cNvSpPr txBox="1"/>
          <p:nvPr/>
        </p:nvSpPr>
        <p:spPr>
          <a:xfrm>
            <a:off x="10786181" y="2481532"/>
            <a:ext cx="1083148" cy="169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/>
              <a:t>Biodegradable</a:t>
            </a:r>
          </a:p>
        </p:txBody>
      </p:sp>
      <p:sp>
        <p:nvSpPr>
          <p:cNvPr id="13" name="TextBox 48">
            <a:extLst>
              <a:ext uri="{FF2B5EF4-FFF2-40B4-BE49-F238E27FC236}">
                <a16:creationId xmlns:a16="http://schemas.microsoft.com/office/drawing/2014/main" id="{28F7F6EE-B54B-47B5-869A-86FCF06633D4}"/>
              </a:ext>
            </a:extLst>
          </p:cNvPr>
          <p:cNvSpPr txBox="1"/>
          <p:nvPr/>
        </p:nvSpPr>
        <p:spPr>
          <a:xfrm>
            <a:off x="9251032" y="2392419"/>
            <a:ext cx="978415" cy="3384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/>
              <a:t>Readily biodegradable</a:t>
            </a:r>
          </a:p>
        </p:txBody>
      </p:sp>
      <p:pic>
        <p:nvPicPr>
          <p:cNvPr id="15" name="Grafik 100">
            <a:extLst>
              <a:ext uri="{FF2B5EF4-FFF2-40B4-BE49-F238E27FC236}">
                <a16:creationId xmlns:a16="http://schemas.microsoft.com/office/drawing/2014/main" id="{A722EF50-2FBC-4106-B8DA-5D2F9924F46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208" y="2381032"/>
            <a:ext cx="395844" cy="395844"/>
          </a:xfrm>
          <a:prstGeom prst="rect">
            <a:avLst/>
          </a:prstGeom>
        </p:spPr>
      </p:pic>
      <p:pic>
        <p:nvPicPr>
          <p:cNvPr id="18" name="Grafik 27">
            <a:extLst>
              <a:ext uri="{FF2B5EF4-FFF2-40B4-BE49-F238E27FC236}">
                <a16:creationId xmlns:a16="http://schemas.microsoft.com/office/drawing/2014/main" id="{6996B917-7CB2-4168-92E3-E032DF55A3A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408094"/>
            <a:ext cx="215916" cy="215916"/>
          </a:xfrm>
          <a:prstGeom prst="rect">
            <a:avLst/>
          </a:prstGeom>
        </p:spPr>
      </p:pic>
      <p:pic>
        <p:nvPicPr>
          <p:cNvPr id="19" name="Grafik 27">
            <a:extLst>
              <a:ext uri="{FF2B5EF4-FFF2-40B4-BE49-F238E27FC236}">
                <a16:creationId xmlns:a16="http://schemas.microsoft.com/office/drawing/2014/main" id="{EE19F597-00CA-426C-A316-8E03F4DF08F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675154"/>
            <a:ext cx="215916" cy="215916"/>
          </a:xfrm>
          <a:prstGeom prst="rect">
            <a:avLst/>
          </a:prstGeom>
        </p:spPr>
      </p:pic>
      <p:pic>
        <p:nvPicPr>
          <p:cNvPr id="20" name="Grafik 27">
            <a:extLst>
              <a:ext uri="{FF2B5EF4-FFF2-40B4-BE49-F238E27FC236}">
                <a16:creationId xmlns:a16="http://schemas.microsoft.com/office/drawing/2014/main" id="{17BD6685-468E-47DB-A3FD-9EAEC9442E0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2926345"/>
            <a:ext cx="215916" cy="215916"/>
          </a:xfrm>
          <a:prstGeom prst="rect">
            <a:avLst/>
          </a:prstGeom>
        </p:spPr>
      </p:pic>
      <p:pic>
        <p:nvPicPr>
          <p:cNvPr id="25" name="Grafik 27">
            <a:extLst>
              <a:ext uri="{FF2B5EF4-FFF2-40B4-BE49-F238E27FC236}">
                <a16:creationId xmlns:a16="http://schemas.microsoft.com/office/drawing/2014/main" id="{B9AE6BE6-498C-4FBC-BEE1-9697FD7AB2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3903551"/>
            <a:ext cx="215916" cy="215916"/>
          </a:xfrm>
          <a:prstGeom prst="rect">
            <a:avLst/>
          </a:prstGeom>
        </p:spPr>
      </p:pic>
      <p:pic>
        <p:nvPicPr>
          <p:cNvPr id="26" name="Grafik 27">
            <a:extLst>
              <a:ext uri="{FF2B5EF4-FFF2-40B4-BE49-F238E27FC236}">
                <a16:creationId xmlns:a16="http://schemas.microsoft.com/office/drawing/2014/main" id="{B83CB174-C611-4377-865B-8AE88BC066A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153443"/>
            <a:ext cx="215916" cy="215916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5DD9EBF1-361A-4C6D-AD8F-85A80115D2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4" y="3406381"/>
            <a:ext cx="215916" cy="215916"/>
          </a:xfrm>
          <a:prstGeom prst="rect">
            <a:avLst/>
          </a:prstGeom>
        </p:spPr>
      </p:pic>
      <p:pic>
        <p:nvPicPr>
          <p:cNvPr id="29" name="Grafik 27">
            <a:extLst>
              <a:ext uri="{FF2B5EF4-FFF2-40B4-BE49-F238E27FC236}">
                <a16:creationId xmlns:a16="http://schemas.microsoft.com/office/drawing/2014/main" id="{E636E008-046A-49AD-993B-71B43B00AC7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412568"/>
            <a:ext cx="215916" cy="215916"/>
          </a:xfrm>
          <a:prstGeom prst="rect">
            <a:avLst/>
          </a:prstGeom>
        </p:spPr>
      </p:pic>
      <p:pic>
        <p:nvPicPr>
          <p:cNvPr id="31" name="Picture 6" descr="BASF is the first chemical company to certify biomass balanced products  acording to new REDcert2 standard for the chemical industry">
            <a:extLst>
              <a:ext uri="{FF2B5EF4-FFF2-40B4-BE49-F238E27FC236}">
                <a16:creationId xmlns:a16="http://schemas.microsoft.com/office/drawing/2014/main" id="{82C5F9F8-35F0-49C0-AE72-42EF1DA75D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4355" y="3260146"/>
            <a:ext cx="636673" cy="35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Grafik 27">
            <a:extLst>
              <a:ext uri="{FF2B5EF4-FFF2-40B4-BE49-F238E27FC236}">
                <a16:creationId xmlns:a16="http://schemas.microsoft.com/office/drawing/2014/main" id="{86742743-FD6C-4A6C-BDDA-D5CF7E7B23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3157774"/>
            <a:ext cx="215916" cy="215916"/>
          </a:xfrm>
          <a:prstGeom prst="rect">
            <a:avLst/>
          </a:prstGeom>
        </p:spPr>
      </p:pic>
      <p:pic>
        <p:nvPicPr>
          <p:cNvPr id="33" name="Grafik 27">
            <a:extLst>
              <a:ext uri="{FF2B5EF4-FFF2-40B4-BE49-F238E27FC236}">
                <a16:creationId xmlns:a16="http://schemas.microsoft.com/office/drawing/2014/main" id="{EB6CA82F-B3D9-46B6-AEDA-B96E1A73C8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5" y="4672993"/>
            <a:ext cx="215916" cy="215916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E60D5799-0D4E-410C-B9B2-D19EEED57E45}"/>
              </a:ext>
            </a:extLst>
          </p:cNvPr>
          <p:cNvGrpSpPr/>
          <p:nvPr/>
        </p:nvGrpSpPr>
        <p:grpSpPr>
          <a:xfrm>
            <a:off x="5976578" y="2160086"/>
            <a:ext cx="215916" cy="215916"/>
            <a:chOff x="521436" y="3552101"/>
            <a:chExt cx="571170" cy="525238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56F0F9F6-8A2E-4787-9347-F04C20F01F17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Grafik 1863">
              <a:extLst>
                <a:ext uri="{FF2B5EF4-FFF2-40B4-BE49-F238E27FC236}">
                  <a16:creationId xmlns:a16="http://schemas.microsoft.com/office/drawing/2014/main" id="{5F6FABF0-53C9-4CED-86CA-0FFBC92CDDCF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95EC215-B250-4251-9C09-71A0A39C9725}"/>
              </a:ext>
            </a:extLst>
          </p:cNvPr>
          <p:cNvGrpSpPr/>
          <p:nvPr/>
        </p:nvGrpSpPr>
        <p:grpSpPr>
          <a:xfrm>
            <a:off x="8758453" y="3271772"/>
            <a:ext cx="395844" cy="395844"/>
            <a:chOff x="348277" y="3596768"/>
            <a:chExt cx="571170" cy="525238"/>
          </a:xfrm>
        </p:grpSpPr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95A4E796-E359-4E93-ABED-0DBE79B7F9FC}"/>
                </a:ext>
              </a:extLst>
            </p:cNvPr>
            <p:cNvSpPr/>
            <p:nvPr/>
          </p:nvSpPr>
          <p:spPr>
            <a:xfrm>
              <a:off x="348277" y="3596768"/>
              <a:ext cx="571170" cy="52523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Grafik 1863">
              <a:extLst>
                <a:ext uri="{FF2B5EF4-FFF2-40B4-BE49-F238E27FC236}">
                  <a16:creationId xmlns:a16="http://schemas.microsoft.com/office/drawing/2014/main" id="{FA11EF9E-7580-4EFE-9145-4576B4558E2D}"/>
                </a:ext>
              </a:extLst>
            </p:cNvPr>
            <p:cNvSpPr/>
            <p:nvPr/>
          </p:nvSpPr>
          <p:spPr>
            <a:xfrm>
              <a:off x="348277" y="3596768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A9C3CD16-BE76-4377-8BF5-A78172C39893}"/>
              </a:ext>
            </a:extLst>
          </p:cNvPr>
          <p:cNvGrpSpPr/>
          <p:nvPr/>
        </p:nvGrpSpPr>
        <p:grpSpPr>
          <a:xfrm>
            <a:off x="5976578" y="2413181"/>
            <a:ext cx="215916" cy="215916"/>
            <a:chOff x="521436" y="3552101"/>
            <a:chExt cx="571170" cy="525238"/>
          </a:xfrm>
        </p:grpSpPr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757919EA-1188-417C-B155-7666B604C61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Grafik 1863">
              <a:extLst>
                <a:ext uri="{FF2B5EF4-FFF2-40B4-BE49-F238E27FC236}">
                  <a16:creationId xmlns:a16="http://schemas.microsoft.com/office/drawing/2014/main" id="{79A6AE15-A857-430E-B002-85470F1BC8C7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40B1165D-AB80-4505-B5FF-B849FB5E6894}"/>
              </a:ext>
            </a:extLst>
          </p:cNvPr>
          <p:cNvGrpSpPr/>
          <p:nvPr/>
        </p:nvGrpSpPr>
        <p:grpSpPr>
          <a:xfrm>
            <a:off x="5976578" y="3655615"/>
            <a:ext cx="215916" cy="215916"/>
            <a:chOff x="521436" y="3552101"/>
            <a:chExt cx="571170" cy="525238"/>
          </a:xfrm>
        </p:grpSpPr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98272659-3A6A-4963-B16A-DEB6E1482B54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Grafik 1863">
              <a:extLst>
                <a:ext uri="{FF2B5EF4-FFF2-40B4-BE49-F238E27FC236}">
                  <a16:creationId xmlns:a16="http://schemas.microsoft.com/office/drawing/2014/main" id="{A40B9568-FCC5-4098-AE80-9EB64CFD5427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7474346D-F897-4C9B-8F90-88EDA4162F5A}"/>
              </a:ext>
            </a:extLst>
          </p:cNvPr>
          <p:cNvGrpSpPr/>
          <p:nvPr/>
        </p:nvGrpSpPr>
        <p:grpSpPr>
          <a:xfrm>
            <a:off x="5976578" y="2919371"/>
            <a:ext cx="215916" cy="215916"/>
            <a:chOff x="521436" y="3552101"/>
            <a:chExt cx="571170" cy="525238"/>
          </a:xfrm>
        </p:grpSpPr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BB194BDD-5D65-4A73-9294-D6C5191486A3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Grafik 1863">
              <a:extLst>
                <a:ext uri="{FF2B5EF4-FFF2-40B4-BE49-F238E27FC236}">
                  <a16:creationId xmlns:a16="http://schemas.microsoft.com/office/drawing/2014/main" id="{DF0E388D-B6EE-43B4-97BE-162111930294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F99EC6A8-FD09-456A-87E4-E37416861F37}"/>
              </a:ext>
            </a:extLst>
          </p:cNvPr>
          <p:cNvGrpSpPr/>
          <p:nvPr/>
        </p:nvGrpSpPr>
        <p:grpSpPr>
          <a:xfrm>
            <a:off x="5976578" y="3172466"/>
            <a:ext cx="215916" cy="215916"/>
            <a:chOff x="521436" y="3552101"/>
            <a:chExt cx="571170" cy="525238"/>
          </a:xfrm>
        </p:grpSpPr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5E937E16-3B64-44ED-A84B-0687151F603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Grafik 1863">
              <a:extLst>
                <a:ext uri="{FF2B5EF4-FFF2-40B4-BE49-F238E27FC236}">
                  <a16:creationId xmlns:a16="http://schemas.microsoft.com/office/drawing/2014/main" id="{5D3901EC-DE2C-4786-B1C5-CB16099FB3A0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4630D0BC-B1CA-4850-AA45-E3CDD50E25AB}"/>
              </a:ext>
            </a:extLst>
          </p:cNvPr>
          <p:cNvGrpSpPr/>
          <p:nvPr/>
        </p:nvGrpSpPr>
        <p:grpSpPr>
          <a:xfrm>
            <a:off x="5976578" y="3425560"/>
            <a:ext cx="215916" cy="215916"/>
            <a:chOff x="521436" y="3552101"/>
            <a:chExt cx="571170" cy="525238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67492B7-617E-4053-8431-086CB16187BC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Grafik 1863">
              <a:extLst>
                <a:ext uri="{FF2B5EF4-FFF2-40B4-BE49-F238E27FC236}">
                  <a16:creationId xmlns:a16="http://schemas.microsoft.com/office/drawing/2014/main" id="{ECCFEB21-85EC-43B2-87BE-F6601D7ED901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90BA6526-11B5-46E6-BCA7-24C9E80F11A4}"/>
              </a:ext>
            </a:extLst>
          </p:cNvPr>
          <p:cNvGrpSpPr/>
          <p:nvPr/>
        </p:nvGrpSpPr>
        <p:grpSpPr>
          <a:xfrm>
            <a:off x="5976578" y="4178884"/>
            <a:ext cx="215916" cy="215916"/>
            <a:chOff x="521436" y="3552101"/>
            <a:chExt cx="571170" cy="525238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5951C669-7D9D-46D4-AE1A-3B8E68818C20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Grafik 1863">
              <a:extLst>
                <a:ext uri="{FF2B5EF4-FFF2-40B4-BE49-F238E27FC236}">
                  <a16:creationId xmlns:a16="http://schemas.microsoft.com/office/drawing/2014/main" id="{E5A222AB-82D3-4070-B64D-10201EA79E89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152E1A55-EDF4-4ECD-B98A-4A8EB0B96D00}"/>
              </a:ext>
            </a:extLst>
          </p:cNvPr>
          <p:cNvGrpSpPr/>
          <p:nvPr/>
        </p:nvGrpSpPr>
        <p:grpSpPr>
          <a:xfrm>
            <a:off x="5976578" y="4679270"/>
            <a:ext cx="215916" cy="215916"/>
            <a:chOff x="521436" y="3552101"/>
            <a:chExt cx="571170" cy="525238"/>
          </a:xfrm>
        </p:grpSpPr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6C822145-8311-43EB-8FEA-CADDF1744A95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Grafik 1863">
              <a:extLst>
                <a:ext uri="{FF2B5EF4-FFF2-40B4-BE49-F238E27FC236}">
                  <a16:creationId xmlns:a16="http://schemas.microsoft.com/office/drawing/2014/main" id="{9FA5E03C-2172-4D37-BEA9-5E3214F248DB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6B36DC97-2F17-4792-B8D5-F9A0B303A947}"/>
              </a:ext>
            </a:extLst>
          </p:cNvPr>
          <p:cNvGrpSpPr/>
          <p:nvPr/>
        </p:nvGrpSpPr>
        <p:grpSpPr>
          <a:xfrm>
            <a:off x="5976578" y="4429078"/>
            <a:ext cx="215916" cy="215916"/>
            <a:chOff x="521436" y="3552101"/>
            <a:chExt cx="571170" cy="525238"/>
          </a:xfrm>
        </p:grpSpPr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39C61CD6-0759-4AA0-BF1F-4D77ADF8D05B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Grafik 1863">
              <a:extLst>
                <a:ext uri="{FF2B5EF4-FFF2-40B4-BE49-F238E27FC236}">
                  <a16:creationId xmlns:a16="http://schemas.microsoft.com/office/drawing/2014/main" id="{5E0453AD-14AA-4D39-9E68-52C39F9C2063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82" name="TextBox 4">
            <a:extLst>
              <a:ext uri="{FF2B5EF4-FFF2-40B4-BE49-F238E27FC236}">
                <a16:creationId xmlns:a16="http://schemas.microsoft.com/office/drawing/2014/main" id="{494038C8-800D-4EB3-A15A-13DAC2A46C65}"/>
              </a:ext>
            </a:extLst>
          </p:cNvPr>
          <p:cNvSpPr txBox="1"/>
          <p:nvPr/>
        </p:nvSpPr>
        <p:spPr>
          <a:xfrm>
            <a:off x="9251034" y="3209560"/>
            <a:ext cx="2027577" cy="507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Renewable Feedstock:</a:t>
            </a:r>
          </a:p>
          <a:p>
            <a:r>
              <a:rPr lang="en-US" sz="1100"/>
              <a:t>Biomass Balance </a:t>
            </a:r>
            <a:r>
              <a:rPr lang="en-US" sz="1100" err="1"/>
              <a:t>BMBcert</a:t>
            </a:r>
            <a:r>
              <a:rPr lang="en-US" sz="1100"/>
              <a:t>™, certified by </a:t>
            </a:r>
            <a:r>
              <a:rPr lang="en-US" sz="1100" err="1"/>
              <a:t>REDcert</a:t>
            </a:r>
            <a:endParaRPr lang="en-US" sz="1100"/>
          </a:p>
        </p:txBody>
      </p:sp>
      <p:grpSp>
        <p:nvGrpSpPr>
          <p:cNvPr id="86" name="Gruppieren 85">
            <a:extLst>
              <a:ext uri="{FF2B5EF4-FFF2-40B4-BE49-F238E27FC236}">
                <a16:creationId xmlns:a16="http://schemas.microsoft.com/office/drawing/2014/main" id="{6817D47F-3B3B-4EE1-A719-BB87175B4D2E}"/>
              </a:ext>
            </a:extLst>
          </p:cNvPr>
          <p:cNvGrpSpPr/>
          <p:nvPr/>
        </p:nvGrpSpPr>
        <p:grpSpPr>
          <a:xfrm>
            <a:off x="8758453" y="4168487"/>
            <a:ext cx="395844" cy="395844"/>
            <a:chOff x="7363789" y="3245211"/>
            <a:chExt cx="720000" cy="720000"/>
          </a:xfrm>
        </p:grpSpPr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07E6D997-E2F5-4AE3-AF9D-D9357ACA594D}"/>
                </a:ext>
              </a:extLst>
            </p:cNvPr>
            <p:cNvSpPr/>
            <p:nvPr/>
          </p:nvSpPr>
          <p:spPr>
            <a:xfrm>
              <a:off x="7363789" y="3245211"/>
              <a:ext cx="720000" cy="720000"/>
            </a:xfrm>
            <a:prstGeom prst="ellipse">
              <a:avLst/>
            </a:prstGeom>
            <a:solidFill>
              <a:srgbClr val="65AC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8" name="Grafik 33">
              <a:extLst>
                <a:ext uri="{FF2B5EF4-FFF2-40B4-BE49-F238E27FC236}">
                  <a16:creationId xmlns:a16="http://schemas.microsoft.com/office/drawing/2014/main" id="{863DE820-7FFF-47CC-A3FB-4F86D0C3937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25850" y="3400968"/>
              <a:ext cx="575999" cy="408486"/>
            </a:xfrm>
            <a:prstGeom prst="rect">
              <a:avLst/>
            </a:prstGeom>
          </p:spPr>
        </p:pic>
      </p:grpSp>
      <p:sp>
        <p:nvSpPr>
          <p:cNvPr id="89" name="TextBox 4">
            <a:extLst>
              <a:ext uri="{FF2B5EF4-FFF2-40B4-BE49-F238E27FC236}">
                <a16:creationId xmlns:a16="http://schemas.microsoft.com/office/drawing/2014/main" id="{66485CD0-E108-454E-893B-7824346D30FB}"/>
              </a:ext>
            </a:extLst>
          </p:cNvPr>
          <p:cNvSpPr txBox="1"/>
          <p:nvPr/>
        </p:nvSpPr>
        <p:spPr>
          <a:xfrm>
            <a:off x="9251031" y="4013822"/>
            <a:ext cx="2626974" cy="676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Product Carbon Footprint:</a:t>
            </a:r>
          </a:p>
          <a:p>
            <a:r>
              <a:rPr lang="en-US" sz="1100"/>
              <a:t>Calculation of product-related greenhouse gas emissions that occur until product leaves factory gate</a:t>
            </a:r>
          </a:p>
        </p:txBody>
      </p:sp>
      <p:sp>
        <p:nvSpPr>
          <p:cNvPr id="90" name="TextBox 4">
            <a:extLst>
              <a:ext uri="{FF2B5EF4-FFF2-40B4-BE49-F238E27FC236}">
                <a16:creationId xmlns:a16="http://schemas.microsoft.com/office/drawing/2014/main" id="{7D3AD238-BC0C-44DE-8E93-1E95746FF4D4}"/>
              </a:ext>
            </a:extLst>
          </p:cNvPr>
          <p:cNvSpPr txBox="1"/>
          <p:nvPr/>
        </p:nvSpPr>
        <p:spPr>
          <a:xfrm>
            <a:off x="8799393" y="1793040"/>
            <a:ext cx="2541796" cy="5076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/>
              <a:t>Biodegradability:</a:t>
            </a:r>
          </a:p>
          <a:p>
            <a:r>
              <a:rPr lang="en-US" sz="1100"/>
              <a:t>Ingredients that do not persist in the environment following OECD guidelines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CF882B98-9776-4A4C-9266-BB5F9C760B2D}"/>
              </a:ext>
            </a:extLst>
          </p:cNvPr>
          <p:cNvSpPr/>
          <p:nvPr/>
        </p:nvSpPr>
        <p:spPr>
          <a:xfrm>
            <a:off x="8606473" y="1708920"/>
            <a:ext cx="3346692" cy="3144549"/>
          </a:xfrm>
          <a:prstGeom prst="rect">
            <a:avLst/>
          </a:prstGeom>
          <a:noFill/>
          <a:ln>
            <a:solidFill>
              <a:srgbClr val="95C6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84"/>
            <a:endParaRPr lang="de-DE" sz="1350">
              <a:solidFill>
                <a:srgbClr val="FFFFFF"/>
              </a:solidFill>
              <a:latin typeface="Arial" panose="020B0604020202020204"/>
              <a:cs typeface="Arial"/>
            </a:endParaRPr>
          </a:p>
        </p:txBody>
      </p:sp>
      <p:pic>
        <p:nvPicPr>
          <p:cNvPr id="92" name="Grafik 100">
            <a:extLst>
              <a:ext uri="{FF2B5EF4-FFF2-40B4-BE49-F238E27FC236}">
                <a16:creationId xmlns:a16="http://schemas.microsoft.com/office/drawing/2014/main" id="{E7829B64-3BA4-42FF-AFBA-0D34CDD9A87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14" y="3646904"/>
            <a:ext cx="215916" cy="215916"/>
          </a:xfrm>
          <a:prstGeom prst="rect">
            <a:avLst/>
          </a:prstGeom>
        </p:spPr>
      </p:pic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C63EDC5B-1628-48F7-AD39-2B8FDD095917}"/>
              </a:ext>
            </a:extLst>
          </p:cNvPr>
          <p:cNvGrpSpPr/>
          <p:nvPr/>
        </p:nvGrpSpPr>
        <p:grpSpPr>
          <a:xfrm>
            <a:off x="5985521" y="1903362"/>
            <a:ext cx="215916" cy="215916"/>
            <a:chOff x="521436" y="3552101"/>
            <a:chExt cx="571170" cy="525238"/>
          </a:xfrm>
        </p:grpSpPr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ABF6CDF3-3F25-4248-A4F1-380035232EBB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6" name="Grafik 1863">
              <a:extLst>
                <a:ext uri="{FF2B5EF4-FFF2-40B4-BE49-F238E27FC236}">
                  <a16:creationId xmlns:a16="http://schemas.microsoft.com/office/drawing/2014/main" id="{72BC7098-692E-448C-9850-05F44F6DCE83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8A825FEB-B6A2-4AAA-BE4F-AC0B573B3C34}"/>
              </a:ext>
            </a:extLst>
          </p:cNvPr>
          <p:cNvGrpSpPr/>
          <p:nvPr/>
        </p:nvGrpSpPr>
        <p:grpSpPr>
          <a:xfrm>
            <a:off x="5958428" y="3905778"/>
            <a:ext cx="215916" cy="215916"/>
            <a:chOff x="521436" y="3552101"/>
            <a:chExt cx="571170" cy="525238"/>
          </a:xfrm>
        </p:grpSpPr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70E38F4A-BE0C-4403-9ED7-4905E4517093}"/>
                </a:ext>
              </a:extLst>
            </p:cNvPr>
            <p:cNvSpPr/>
            <p:nvPr/>
          </p:nvSpPr>
          <p:spPr>
            <a:xfrm>
              <a:off x="569034" y="3595871"/>
              <a:ext cx="475975" cy="4376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9" name="Grafik 1863">
              <a:extLst>
                <a:ext uri="{FF2B5EF4-FFF2-40B4-BE49-F238E27FC236}">
                  <a16:creationId xmlns:a16="http://schemas.microsoft.com/office/drawing/2014/main" id="{7EE6DB51-E79C-48B1-B149-E919DAB9DED5}"/>
                </a:ext>
              </a:extLst>
            </p:cNvPr>
            <p:cNvSpPr/>
            <p:nvPr/>
          </p:nvSpPr>
          <p:spPr>
            <a:xfrm>
              <a:off x="521436" y="3552101"/>
              <a:ext cx="571170" cy="525238"/>
            </a:xfrm>
            <a:custGeom>
              <a:avLst/>
              <a:gdLst>
                <a:gd name="connsiteX0" fmla="*/ 312706 w 625411"/>
                <a:gd name="connsiteY0" fmla="*/ 0 h 625411"/>
                <a:gd name="connsiteX1" fmla="*/ 0 w 625411"/>
                <a:gd name="connsiteY1" fmla="*/ 312706 h 625411"/>
                <a:gd name="connsiteX2" fmla="*/ 312706 w 625411"/>
                <a:gd name="connsiteY2" fmla="*/ 625412 h 625411"/>
                <a:gd name="connsiteX3" fmla="*/ 625412 w 625411"/>
                <a:gd name="connsiteY3" fmla="*/ 312706 h 625411"/>
                <a:gd name="connsiteX4" fmla="*/ 312706 w 625411"/>
                <a:gd name="connsiteY4" fmla="*/ 0 h 625411"/>
                <a:gd name="connsiteX5" fmla="*/ 206407 w 625411"/>
                <a:gd name="connsiteY5" fmla="*/ 455295 h 625411"/>
                <a:gd name="connsiteX6" fmla="*/ 197453 w 625411"/>
                <a:gd name="connsiteY6" fmla="*/ 449580 h 625411"/>
                <a:gd name="connsiteX7" fmla="*/ 183737 w 625411"/>
                <a:gd name="connsiteY7" fmla="*/ 497967 h 625411"/>
                <a:gd name="connsiteX8" fmla="*/ 173069 w 625411"/>
                <a:gd name="connsiteY8" fmla="*/ 481679 h 625411"/>
                <a:gd name="connsiteX9" fmla="*/ 185642 w 625411"/>
                <a:gd name="connsiteY9" fmla="*/ 440341 h 625411"/>
                <a:gd name="connsiteX10" fmla="*/ 383096 w 625411"/>
                <a:gd name="connsiteY10" fmla="*/ 246793 h 625411"/>
                <a:gd name="connsiteX11" fmla="*/ 175736 w 625411"/>
                <a:gd name="connsiteY11" fmla="*/ 424244 h 625411"/>
                <a:gd name="connsiteX12" fmla="*/ 466725 w 625411"/>
                <a:gd name="connsiteY12" fmla="*/ 127540 h 625411"/>
                <a:gd name="connsiteX13" fmla="*/ 206407 w 625411"/>
                <a:gd name="connsiteY13" fmla="*/ 455295 h 625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5411" h="625411">
                  <a:moveTo>
                    <a:pt x="312706" y="0"/>
                  </a:moveTo>
                  <a:cubicBezTo>
                    <a:pt x="140003" y="0"/>
                    <a:pt x="0" y="140003"/>
                    <a:pt x="0" y="312706"/>
                  </a:cubicBezTo>
                  <a:cubicBezTo>
                    <a:pt x="0" y="485408"/>
                    <a:pt x="140003" y="625412"/>
                    <a:pt x="312706" y="625412"/>
                  </a:cubicBezTo>
                  <a:cubicBezTo>
                    <a:pt x="485408" y="625412"/>
                    <a:pt x="625412" y="485408"/>
                    <a:pt x="625412" y="312706"/>
                  </a:cubicBezTo>
                  <a:cubicBezTo>
                    <a:pt x="625412" y="140003"/>
                    <a:pt x="485408" y="0"/>
                    <a:pt x="312706" y="0"/>
                  </a:cubicBezTo>
                  <a:close/>
                  <a:moveTo>
                    <a:pt x="206407" y="455295"/>
                  </a:moveTo>
                  <a:cubicBezTo>
                    <a:pt x="202787" y="453200"/>
                    <a:pt x="200025" y="451390"/>
                    <a:pt x="197453" y="449580"/>
                  </a:cubicBezTo>
                  <a:cubicBezTo>
                    <a:pt x="191611" y="465322"/>
                    <a:pt x="187025" y="481501"/>
                    <a:pt x="183737" y="497967"/>
                  </a:cubicBezTo>
                  <a:cubicBezTo>
                    <a:pt x="178308" y="488442"/>
                    <a:pt x="173069" y="481679"/>
                    <a:pt x="173069" y="481679"/>
                  </a:cubicBezTo>
                  <a:cubicBezTo>
                    <a:pt x="176180" y="467594"/>
                    <a:pt x="180384" y="453773"/>
                    <a:pt x="185642" y="440341"/>
                  </a:cubicBezTo>
                  <a:cubicBezTo>
                    <a:pt x="242792" y="298609"/>
                    <a:pt x="381572" y="254413"/>
                    <a:pt x="383096" y="246793"/>
                  </a:cubicBezTo>
                  <a:cubicBezTo>
                    <a:pt x="244602" y="278321"/>
                    <a:pt x="184880" y="403384"/>
                    <a:pt x="175736" y="424244"/>
                  </a:cubicBezTo>
                  <a:cubicBezTo>
                    <a:pt x="70199" y="177737"/>
                    <a:pt x="426529" y="193167"/>
                    <a:pt x="466725" y="127540"/>
                  </a:cubicBezTo>
                  <a:cubicBezTo>
                    <a:pt x="489966" y="396621"/>
                    <a:pt x="315563" y="507301"/>
                    <a:pt x="206407" y="455295"/>
                  </a:cubicBezTo>
                  <a:close/>
                </a:path>
              </a:pathLst>
            </a:custGeom>
            <a:solidFill>
              <a:srgbClr val="65AC1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93" name="Grafik 100">
            <a:extLst>
              <a:ext uri="{FF2B5EF4-FFF2-40B4-BE49-F238E27FC236}">
                <a16:creationId xmlns:a16="http://schemas.microsoft.com/office/drawing/2014/main" id="{51D100DF-63C7-41BB-892E-3870E04D60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64" y="1903362"/>
            <a:ext cx="215916" cy="215916"/>
          </a:xfrm>
          <a:prstGeom prst="rect">
            <a:avLst/>
          </a:prstGeom>
        </p:spPr>
      </p:pic>
      <p:pic>
        <p:nvPicPr>
          <p:cNvPr id="104" name="Grafik 100">
            <a:extLst>
              <a:ext uri="{FF2B5EF4-FFF2-40B4-BE49-F238E27FC236}">
                <a16:creationId xmlns:a16="http://schemas.microsoft.com/office/drawing/2014/main" id="{92FF5D26-58B0-4CC6-90BA-686558C5370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764" y="2161355"/>
            <a:ext cx="215916" cy="215916"/>
          </a:xfrm>
          <a:prstGeom prst="rect">
            <a:avLst/>
          </a:prstGeom>
        </p:spPr>
      </p:pic>
      <p:grpSp>
        <p:nvGrpSpPr>
          <p:cNvPr id="3" name="Group 5">
            <a:extLst>
              <a:ext uri="{FF2B5EF4-FFF2-40B4-BE49-F238E27FC236}">
                <a16:creationId xmlns:a16="http://schemas.microsoft.com/office/drawing/2014/main" id="{5AC7B032-BF96-4C42-A812-F11E3A5C943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58684" y="2379800"/>
            <a:ext cx="395237" cy="395236"/>
            <a:chOff x="5518" y="1499"/>
            <a:chExt cx="249" cy="249"/>
          </a:xfrm>
        </p:grpSpPr>
        <p:sp>
          <p:nvSpPr>
            <p:cNvPr id="4" name="AutoShape 4">
              <a:extLst>
                <a:ext uri="{FF2B5EF4-FFF2-40B4-BE49-F238E27FC236}">
                  <a16:creationId xmlns:a16="http://schemas.microsoft.com/office/drawing/2014/main" id="{FFCB1809-E1CB-4324-A218-1DE9D8D6A6D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518" y="1499"/>
              <a:ext cx="249" cy="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Oval 6">
              <a:extLst>
                <a:ext uri="{FF2B5EF4-FFF2-40B4-BE49-F238E27FC236}">
                  <a16:creationId xmlns:a16="http://schemas.microsoft.com/office/drawing/2014/main" id="{70B02752-00A3-4736-A8C4-EB5DBEBCCE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8" y="1499"/>
              <a:ext cx="249" cy="249"/>
            </a:xfrm>
            <a:prstGeom prst="ellipse">
              <a:avLst/>
            </a:prstGeom>
            <a:solidFill>
              <a:srgbClr val="024A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83EC1785-A6DD-4B27-94D1-E9DBECE04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5" y="1521"/>
              <a:ext cx="155" cy="186"/>
            </a:xfrm>
            <a:custGeom>
              <a:avLst/>
              <a:gdLst>
                <a:gd name="T0" fmla="*/ 278 w 397"/>
                <a:gd name="T1" fmla="*/ 419 h 476"/>
                <a:gd name="T2" fmla="*/ 371 w 397"/>
                <a:gd name="T3" fmla="*/ 475 h 476"/>
                <a:gd name="T4" fmla="*/ 9 w 397"/>
                <a:gd name="T5" fmla="*/ 471 h 476"/>
                <a:gd name="T6" fmla="*/ 100 w 397"/>
                <a:gd name="T7" fmla="*/ 417 h 476"/>
                <a:gd name="T8" fmla="*/ 156 w 397"/>
                <a:gd name="T9" fmla="*/ 378 h 476"/>
                <a:gd name="T10" fmla="*/ 156 w 397"/>
                <a:gd name="T11" fmla="*/ 200 h 476"/>
                <a:gd name="T12" fmla="*/ 149 w 397"/>
                <a:gd name="T13" fmla="*/ 191 h 476"/>
                <a:gd name="T14" fmla="*/ 147 w 397"/>
                <a:gd name="T15" fmla="*/ 194 h 476"/>
                <a:gd name="T16" fmla="*/ 0 w 397"/>
                <a:gd name="T17" fmla="*/ 102 h 476"/>
                <a:gd name="T18" fmla="*/ 154 w 397"/>
                <a:gd name="T19" fmla="*/ 178 h 476"/>
                <a:gd name="T20" fmla="*/ 49 w 397"/>
                <a:gd name="T21" fmla="*/ 137 h 476"/>
                <a:gd name="T22" fmla="*/ 153 w 397"/>
                <a:gd name="T23" fmla="*/ 185 h 476"/>
                <a:gd name="T24" fmla="*/ 158 w 397"/>
                <a:gd name="T25" fmla="*/ 193 h 476"/>
                <a:gd name="T26" fmla="*/ 159 w 397"/>
                <a:gd name="T27" fmla="*/ 193 h 476"/>
                <a:gd name="T28" fmla="*/ 173 w 397"/>
                <a:gd name="T29" fmla="*/ 174 h 476"/>
                <a:gd name="T30" fmla="*/ 325 w 397"/>
                <a:gd name="T31" fmla="*/ 102 h 476"/>
                <a:gd name="T32" fmla="*/ 171 w 397"/>
                <a:gd name="T33" fmla="*/ 163 h 476"/>
                <a:gd name="T34" fmla="*/ 397 w 397"/>
                <a:gd name="T35" fmla="*/ 51 h 476"/>
                <a:gd name="T36" fmla="*/ 182 w 397"/>
                <a:gd name="T37" fmla="*/ 187 h 476"/>
                <a:gd name="T38" fmla="*/ 178 w 397"/>
                <a:gd name="T39" fmla="*/ 181 h 476"/>
                <a:gd name="T40" fmla="*/ 170 w 397"/>
                <a:gd name="T41" fmla="*/ 193 h 476"/>
                <a:gd name="T42" fmla="*/ 170 w 397"/>
                <a:gd name="T43" fmla="*/ 193 h 476"/>
                <a:gd name="T44" fmla="*/ 170 w 397"/>
                <a:gd name="T45" fmla="*/ 378 h 476"/>
                <a:gd name="T46" fmla="*/ 278 w 397"/>
                <a:gd name="T47" fmla="*/ 419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7" h="476">
                  <a:moveTo>
                    <a:pt x="278" y="419"/>
                  </a:moveTo>
                  <a:cubicBezTo>
                    <a:pt x="326" y="457"/>
                    <a:pt x="366" y="473"/>
                    <a:pt x="371" y="475"/>
                  </a:cubicBezTo>
                  <a:cubicBezTo>
                    <a:pt x="376" y="476"/>
                    <a:pt x="9" y="471"/>
                    <a:pt x="9" y="471"/>
                  </a:cubicBezTo>
                  <a:cubicBezTo>
                    <a:pt x="9" y="471"/>
                    <a:pt x="86" y="426"/>
                    <a:pt x="100" y="417"/>
                  </a:cubicBezTo>
                  <a:cubicBezTo>
                    <a:pt x="113" y="409"/>
                    <a:pt x="137" y="384"/>
                    <a:pt x="156" y="378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4" y="197"/>
                    <a:pt x="152" y="193"/>
                    <a:pt x="149" y="191"/>
                  </a:cubicBezTo>
                  <a:cubicBezTo>
                    <a:pt x="148" y="192"/>
                    <a:pt x="148" y="193"/>
                    <a:pt x="147" y="194"/>
                  </a:cubicBezTo>
                  <a:cubicBezTo>
                    <a:pt x="111" y="229"/>
                    <a:pt x="28" y="210"/>
                    <a:pt x="0" y="102"/>
                  </a:cubicBezTo>
                  <a:cubicBezTo>
                    <a:pt x="25" y="122"/>
                    <a:pt x="162" y="67"/>
                    <a:pt x="154" y="178"/>
                  </a:cubicBezTo>
                  <a:cubicBezTo>
                    <a:pt x="148" y="171"/>
                    <a:pt x="108" y="130"/>
                    <a:pt x="49" y="137"/>
                  </a:cubicBezTo>
                  <a:cubicBezTo>
                    <a:pt x="51" y="140"/>
                    <a:pt x="111" y="138"/>
                    <a:pt x="153" y="185"/>
                  </a:cubicBezTo>
                  <a:cubicBezTo>
                    <a:pt x="155" y="188"/>
                    <a:pt x="157" y="191"/>
                    <a:pt x="158" y="193"/>
                  </a:cubicBezTo>
                  <a:cubicBezTo>
                    <a:pt x="159" y="193"/>
                    <a:pt x="159" y="193"/>
                    <a:pt x="159" y="193"/>
                  </a:cubicBezTo>
                  <a:cubicBezTo>
                    <a:pt x="161" y="189"/>
                    <a:pt x="166" y="183"/>
                    <a:pt x="173" y="174"/>
                  </a:cubicBezTo>
                  <a:cubicBezTo>
                    <a:pt x="234" y="104"/>
                    <a:pt x="323" y="106"/>
                    <a:pt x="325" y="102"/>
                  </a:cubicBezTo>
                  <a:cubicBezTo>
                    <a:pt x="239" y="93"/>
                    <a:pt x="180" y="152"/>
                    <a:pt x="171" y="163"/>
                  </a:cubicBezTo>
                  <a:cubicBezTo>
                    <a:pt x="160" y="0"/>
                    <a:pt x="361" y="80"/>
                    <a:pt x="397" y="51"/>
                  </a:cubicBezTo>
                  <a:cubicBezTo>
                    <a:pt x="357" y="210"/>
                    <a:pt x="234" y="238"/>
                    <a:pt x="182" y="187"/>
                  </a:cubicBezTo>
                  <a:cubicBezTo>
                    <a:pt x="181" y="185"/>
                    <a:pt x="179" y="183"/>
                    <a:pt x="178" y="181"/>
                  </a:cubicBezTo>
                  <a:cubicBezTo>
                    <a:pt x="175" y="185"/>
                    <a:pt x="172" y="189"/>
                    <a:pt x="170" y="193"/>
                  </a:cubicBezTo>
                  <a:cubicBezTo>
                    <a:pt x="170" y="193"/>
                    <a:pt x="170" y="193"/>
                    <a:pt x="170" y="193"/>
                  </a:cubicBezTo>
                  <a:cubicBezTo>
                    <a:pt x="170" y="378"/>
                    <a:pt x="170" y="378"/>
                    <a:pt x="170" y="378"/>
                  </a:cubicBezTo>
                  <a:cubicBezTo>
                    <a:pt x="189" y="380"/>
                    <a:pt x="239" y="388"/>
                    <a:pt x="278" y="4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8FB1BD4-1172-4FD7-8661-D2E54723197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20C8F48-D470-49EE-BAFD-882E7023F375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566C7E-4585-47F6-ABB1-8588248753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25D1654-E831-40D3-9C83-2D8EEA916D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2EA1D04-CA53-4DE3-84A8-2B63E41036C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145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>
            <a:extLst>
              <a:ext uri="{FF2B5EF4-FFF2-40B4-BE49-F238E27FC236}">
                <a16:creationId xmlns:a16="http://schemas.microsoft.com/office/drawing/2014/main" id="{F7CB92BA-FA04-4451-B5F3-2B36955B3F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5033"/>
              </p:ext>
            </p:extLst>
          </p:nvPr>
        </p:nvGraphicFramePr>
        <p:xfrm>
          <a:off x="2380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4" imgW="653" imgH="623" progId="TCLayout.ActiveDocument.1">
                  <p:embed/>
                </p:oleObj>
              </mc:Choice>
              <mc:Fallback>
                <p:oleObj name="think-cell Slide" r:id="rId4" imgW="653" imgH="623" progId="TCLayout.ActiveDocument.1">
                  <p:embed/>
                  <p:pic>
                    <p:nvPicPr>
                      <p:cNvPr id="31" name="Objekt 30" hidden="1">
                        <a:extLst>
                          <a:ext uri="{FF2B5EF4-FFF2-40B4-BE49-F238E27FC236}">
                            <a16:creationId xmlns:a16="http://schemas.microsoft.com/office/drawing/2014/main" id="{F7CB92BA-FA04-4451-B5F3-2B36955B3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0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6F14A2D-410F-4B9A-B4E4-B4AC9EE0E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 err="1"/>
              <a:t>BMBcert</a:t>
            </a:r>
            <a:r>
              <a:rPr lang="de-DE" baseline="30000" noProof="0" err="1"/>
              <a:t>TM</a:t>
            </a:r>
            <a:r>
              <a:rPr lang="de-DE" baseline="30000" noProof="0"/>
              <a:t> </a:t>
            </a:r>
            <a:r>
              <a:rPr lang="de-DE" noProof="0" err="1"/>
              <a:t>products</a:t>
            </a:r>
            <a:r>
              <a:rPr lang="de-DE" noProof="0"/>
              <a:t> </a:t>
            </a:r>
            <a:r>
              <a:rPr lang="de-DE" noProof="0" err="1"/>
              <a:t>have</a:t>
            </a:r>
            <a:r>
              <a:rPr lang="de-DE" noProof="0"/>
              <a:t> a strong </a:t>
            </a:r>
            <a:r>
              <a:rPr lang="de-DE" noProof="0" err="1"/>
              <a:t>value</a:t>
            </a:r>
            <a:r>
              <a:rPr lang="de-DE" noProof="0"/>
              <a:t> </a:t>
            </a:r>
            <a:r>
              <a:rPr lang="de-DE" noProof="0" err="1"/>
              <a:t>proposition</a:t>
            </a:r>
            <a:r>
              <a:rPr lang="de-DE" noProof="0"/>
              <a:t> but </a:t>
            </a:r>
            <a:r>
              <a:rPr lang="de-DE" noProof="0" err="1"/>
              <a:t>the</a:t>
            </a:r>
            <a:r>
              <a:rPr lang="de-DE" noProof="0"/>
              <a:t> </a:t>
            </a:r>
            <a:r>
              <a:rPr lang="de-DE" noProof="0" err="1"/>
              <a:t>concept</a:t>
            </a:r>
            <a:r>
              <a:rPr lang="de-DE" noProof="0"/>
              <a:t> </a:t>
            </a:r>
            <a:r>
              <a:rPr lang="de-DE" noProof="0" err="1"/>
              <a:t>is</a:t>
            </a:r>
            <a:r>
              <a:rPr lang="de-DE" noProof="0"/>
              <a:t> </a:t>
            </a:r>
            <a:r>
              <a:rPr lang="de-DE" noProof="0" err="1"/>
              <a:t>rather</a:t>
            </a:r>
            <a:r>
              <a:rPr lang="de-DE" noProof="0"/>
              <a:t> </a:t>
            </a:r>
            <a:r>
              <a:rPr lang="de-DE" noProof="0" err="1"/>
              <a:t>abstract</a:t>
            </a:r>
            <a:r>
              <a:rPr lang="de-DE" noProof="0"/>
              <a:t> and </a:t>
            </a:r>
            <a:r>
              <a:rPr lang="de-DE" noProof="0" err="1"/>
              <a:t>needs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be</a:t>
            </a:r>
            <a:r>
              <a:rPr lang="de-DE" noProof="0"/>
              <a:t> </a:t>
            </a:r>
            <a:r>
              <a:rPr lang="de-DE" noProof="0" err="1"/>
              <a:t>understood</a:t>
            </a:r>
            <a:endParaRPr lang="de-DE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F98D92-511A-4A55-9BB2-EBE1E2B783A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229336" y="6560008"/>
            <a:ext cx="358106" cy="151160"/>
          </a:xfrm>
          <a:prstGeom prst="rect">
            <a:avLst/>
          </a:prstGeom>
        </p:spPr>
        <p:txBody>
          <a:bodyPr/>
          <a:lstStyle/>
          <a:p>
            <a:pPr defTabSz="914218">
              <a:defRPr/>
            </a:pPr>
            <a:fld id="{D7C0CCF7-DF53-4ADB-AAD8-9742C01AD446}" type="slidenum">
              <a:rPr lang="de-DE">
                <a:solidFill>
                  <a:srgbClr val="000000"/>
                </a:solidFill>
                <a:latin typeface="Arial" panose="020B0604020202020204"/>
                <a:cs typeface="Arial"/>
              </a:rPr>
              <a:pPr defTabSz="914218">
                <a:defRPr/>
              </a:pPr>
              <a:t>3</a:t>
            </a:fld>
            <a:endParaRPr lang="de-DE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grpSp>
        <p:nvGrpSpPr>
          <p:cNvPr id="5" name="Group 10">
            <a:extLst>
              <a:ext uri="{FF2B5EF4-FFF2-40B4-BE49-F238E27FC236}">
                <a16:creationId xmlns:a16="http://schemas.microsoft.com/office/drawing/2014/main" id="{D4E22A5A-1443-487D-8BEE-0C7A1B001257}"/>
              </a:ext>
            </a:extLst>
          </p:cNvPr>
          <p:cNvGrpSpPr/>
          <p:nvPr/>
        </p:nvGrpSpPr>
        <p:grpSpPr>
          <a:xfrm>
            <a:off x="219838" y="2451859"/>
            <a:ext cx="2800353" cy="3806684"/>
            <a:chOff x="218306" y="2361063"/>
            <a:chExt cx="2801083" cy="3807676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ADC096B6-2FD9-45E5-B88A-944E276B7286}"/>
                </a:ext>
              </a:extLst>
            </p:cNvPr>
            <p:cNvSpPr/>
            <p:nvPr/>
          </p:nvSpPr>
          <p:spPr>
            <a:xfrm>
              <a:off x="218306" y="2361063"/>
              <a:ext cx="2761303" cy="351620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" name="Inhaltsplatzhalter 5">
              <a:extLst>
                <a:ext uri="{FF2B5EF4-FFF2-40B4-BE49-F238E27FC236}">
                  <a16:creationId xmlns:a16="http://schemas.microsoft.com/office/drawing/2014/main" id="{83C9A128-608A-47FC-96C3-7B7CF07BF428}"/>
                </a:ext>
              </a:extLst>
            </p:cNvPr>
            <p:cNvSpPr txBox="1">
              <a:spLocks/>
            </p:cNvSpPr>
            <p:nvPr/>
          </p:nvSpPr>
          <p:spPr>
            <a:xfrm>
              <a:off x="258087" y="3323228"/>
              <a:ext cx="2761302" cy="2845511"/>
            </a:xfrm>
            <a:prstGeom prst="rect">
              <a:avLst/>
            </a:prstGeom>
          </p:spPr>
          <p:txBody>
            <a:bodyPr vert="horz" lIns="107972" tIns="0" rIns="107972" bIns="0" rtlCol="0">
              <a:noAutofit/>
            </a:bodyPr>
            <a:lstStyle>
              <a:lvl1pPr marL="342900" marR="0" indent="-34290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n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715963" marR="0" indent="-358775" algn="l" defTabSz="914400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0000"/>
                <a:buFont typeface="Wingdings 3" panose="05040102010807070707" pitchFamily="18" charset="2"/>
                <a:buChar char="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1088" marR="0" indent="-365125" algn="l" defTabSz="914400" rtl="0" eaLnBrk="1" fontAlgn="base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ct val="95000"/>
                <a:buFont typeface="Arial" panose="020B0604020202020204" pitchFamily="34" charset="0"/>
                <a:buChar char="●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433513" marR="0" indent="-358775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−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20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 b="1">
                  <a:solidFill>
                    <a:schemeClr val="accent1"/>
                  </a:solidFill>
                </a:rPr>
                <a:t>Product certified according to a recognized standard</a:t>
              </a:r>
              <a:endParaRPr lang="en-US" sz="1800"/>
            </a:p>
          </p:txBody>
        </p:sp>
      </p:grpSp>
      <p:grpSp>
        <p:nvGrpSpPr>
          <p:cNvPr id="8" name="Group 14">
            <a:extLst>
              <a:ext uri="{FF2B5EF4-FFF2-40B4-BE49-F238E27FC236}">
                <a16:creationId xmlns:a16="http://schemas.microsoft.com/office/drawing/2014/main" id="{87890BE7-7101-45D8-8FE8-B115A3924545}"/>
              </a:ext>
            </a:extLst>
          </p:cNvPr>
          <p:cNvGrpSpPr/>
          <p:nvPr/>
        </p:nvGrpSpPr>
        <p:grpSpPr>
          <a:xfrm>
            <a:off x="9165061" y="2469349"/>
            <a:ext cx="2805517" cy="3360762"/>
            <a:chOff x="9165860" y="2378555"/>
            <a:chExt cx="2806247" cy="3516207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619B0834-70C2-4785-AF22-33219C85BD57}"/>
                </a:ext>
              </a:extLst>
            </p:cNvPr>
            <p:cNvSpPr/>
            <p:nvPr/>
          </p:nvSpPr>
          <p:spPr>
            <a:xfrm>
              <a:off x="9165860" y="2378555"/>
              <a:ext cx="2761303" cy="35162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Inhaltsplatzhalter 5">
              <a:extLst>
                <a:ext uri="{FF2B5EF4-FFF2-40B4-BE49-F238E27FC236}">
                  <a16:creationId xmlns:a16="http://schemas.microsoft.com/office/drawing/2014/main" id="{ED2D1314-8551-4ACE-941D-B3B7CCBE0FD7}"/>
                </a:ext>
              </a:extLst>
            </p:cNvPr>
            <p:cNvSpPr txBox="1">
              <a:spLocks/>
            </p:cNvSpPr>
            <p:nvPr/>
          </p:nvSpPr>
          <p:spPr>
            <a:xfrm>
              <a:off x="9210804" y="3323228"/>
              <a:ext cx="2761303" cy="1618118"/>
            </a:xfrm>
            <a:prstGeom prst="rect">
              <a:avLst/>
            </a:prstGeom>
          </p:spPr>
          <p:txBody>
            <a:bodyPr vert="horz" lIns="107972" tIns="0" rIns="107972" bIns="0" rtlCol="0">
              <a:noAutofit/>
            </a:bodyPr>
            <a:lstStyle>
              <a:lvl1pPr marL="342900" marR="0" indent="-34290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n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715963" marR="0" indent="-358775" algn="l" defTabSz="914400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0000"/>
                <a:buFont typeface="Wingdings 3" panose="05040102010807070707" pitchFamily="18" charset="2"/>
                <a:buChar char="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1088" marR="0" indent="-365125" algn="l" defTabSz="914400" rtl="0" eaLnBrk="1" fontAlgn="base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ct val="95000"/>
                <a:buFont typeface="Arial" panose="020B0604020202020204" pitchFamily="34" charset="0"/>
                <a:buChar char="●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433513" marR="0" indent="-358775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−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20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1200"/>
                </a:spcBef>
                <a:buNone/>
                <a:defRPr/>
              </a:pPr>
              <a:r>
                <a:rPr lang="en-US" sz="1800" b="1">
                  <a:solidFill>
                    <a:schemeClr val="accent1"/>
                  </a:solidFill>
                </a:rPr>
                <a:t>No </a:t>
              </a:r>
              <a:r>
                <a:rPr lang="en-US" sz="1800" b="1">
                  <a:solidFill>
                    <a:schemeClr val="accent1"/>
                  </a:solidFill>
                  <a:cs typeface="Arial"/>
                </a:rPr>
                <a:t>need to reformulate </a:t>
              </a:r>
              <a:r>
                <a:rPr lang="en-US" sz="1800">
                  <a:cs typeface="Arial"/>
                </a:rPr>
                <a:t>as the chemical and olfactory product quality and </a:t>
              </a:r>
              <a:r>
                <a:rPr lang="en-US" sz="1800"/>
                <a:t>performance is identical </a:t>
              </a:r>
              <a:endParaRPr lang="en-US" sz="1800">
                <a:cs typeface="Arial"/>
              </a:endParaRPr>
            </a:p>
          </p:txBody>
        </p:sp>
      </p:grpSp>
      <p:sp>
        <p:nvSpPr>
          <p:cNvPr id="12" name="Rechteck 11">
            <a:extLst>
              <a:ext uri="{FF2B5EF4-FFF2-40B4-BE49-F238E27FC236}">
                <a16:creationId xmlns:a16="http://schemas.microsoft.com/office/drawing/2014/main" id="{A429072C-0721-4B8B-9FE3-844D076183AE}"/>
              </a:ext>
            </a:extLst>
          </p:cNvPr>
          <p:cNvSpPr/>
          <p:nvPr/>
        </p:nvSpPr>
        <p:spPr>
          <a:xfrm>
            <a:off x="3137171" y="2451331"/>
            <a:ext cx="2760584" cy="35152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716EC00-5B41-4A45-97D9-0255C38BE3E2}"/>
              </a:ext>
            </a:extLst>
          </p:cNvPr>
          <p:cNvGrpSpPr/>
          <p:nvPr/>
        </p:nvGrpSpPr>
        <p:grpSpPr>
          <a:xfrm>
            <a:off x="5954597" y="2459155"/>
            <a:ext cx="3098819" cy="3515292"/>
            <a:chOff x="5884419" y="2368361"/>
            <a:chExt cx="3099627" cy="3516208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2996F0F-A0FA-45D0-8C4B-4D4F0AEC014B}"/>
                </a:ext>
              </a:extLst>
            </p:cNvPr>
            <p:cNvSpPr/>
            <p:nvPr/>
          </p:nvSpPr>
          <p:spPr>
            <a:xfrm>
              <a:off x="6145172" y="2368361"/>
              <a:ext cx="2761303" cy="35162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Inhaltsplatzhalter 5">
              <a:extLst>
                <a:ext uri="{FF2B5EF4-FFF2-40B4-BE49-F238E27FC236}">
                  <a16:creationId xmlns:a16="http://schemas.microsoft.com/office/drawing/2014/main" id="{F8E9E575-9F05-4901-93A8-B5451EE6F89E}"/>
                </a:ext>
              </a:extLst>
            </p:cNvPr>
            <p:cNvSpPr txBox="1">
              <a:spLocks/>
            </p:cNvSpPr>
            <p:nvPr/>
          </p:nvSpPr>
          <p:spPr>
            <a:xfrm>
              <a:off x="5884419" y="3323228"/>
              <a:ext cx="3099627" cy="1751611"/>
            </a:xfrm>
            <a:prstGeom prst="rect">
              <a:avLst/>
            </a:prstGeom>
          </p:spPr>
          <p:txBody>
            <a:bodyPr vert="horz" lIns="107972" tIns="0" rIns="107972" bIns="0" rtlCol="0">
              <a:noAutofit/>
            </a:bodyPr>
            <a:lstStyle>
              <a:lvl1pPr marL="342900" marR="0" indent="-34290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n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715963" marR="0" indent="-358775" algn="l" defTabSz="914400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0000"/>
                <a:buFont typeface="Wingdings 3" panose="05040102010807070707" pitchFamily="18" charset="2"/>
                <a:buChar char="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1088" marR="0" indent="-365125" algn="l" defTabSz="914400" rtl="0" eaLnBrk="1" fontAlgn="base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ct val="95000"/>
                <a:buFont typeface="Arial" panose="020B0604020202020204" pitchFamily="34" charset="0"/>
                <a:buChar char="●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433513" marR="0" indent="-358775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−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20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1200"/>
                </a:spcBef>
                <a:buNone/>
                <a:defRPr/>
              </a:pPr>
              <a:r>
                <a:rPr lang="en-US" sz="1800" b="1">
                  <a:solidFill>
                    <a:schemeClr val="accent1"/>
                  </a:solidFill>
                  <a:cs typeface="Arial"/>
                </a:rPr>
                <a:t>Reduce</a:t>
              </a:r>
              <a:r>
                <a:rPr lang="en-US" sz="1800">
                  <a:cs typeface="Arial"/>
                </a:rPr>
                <a:t> </a:t>
              </a:r>
              <a:r>
                <a:rPr lang="en-US" sz="1800" b="1">
                  <a:solidFill>
                    <a:schemeClr val="accent1"/>
                  </a:solidFill>
                </a:rPr>
                <a:t>CO</a:t>
              </a:r>
              <a:r>
                <a:rPr lang="en-US" sz="1800" b="1" baseline="-25000">
                  <a:solidFill>
                    <a:schemeClr val="accent1"/>
                  </a:solidFill>
                </a:rPr>
                <a:t>2</a:t>
              </a:r>
              <a:r>
                <a:rPr lang="en-US" sz="1800" b="1">
                  <a:solidFill>
                    <a:schemeClr val="accent1"/>
                  </a:solidFill>
                </a:rPr>
                <a:t> emissions </a:t>
              </a:r>
              <a:r>
                <a:rPr lang="en-US" sz="1800"/>
                <a:t>and </a:t>
              </a:r>
              <a:r>
                <a:rPr lang="en-US" sz="1800">
                  <a:cs typeface="Arial"/>
                </a:rPr>
                <a:t>receive respective quantified </a:t>
              </a:r>
              <a:r>
                <a:rPr lang="en-US" sz="1800" b="1">
                  <a:solidFill>
                    <a:schemeClr val="accent1"/>
                  </a:solidFill>
                  <a:cs typeface="Arial"/>
                </a:rPr>
                <a:t>CO</a:t>
              </a:r>
              <a:r>
                <a:rPr lang="en-US" sz="1800" b="1" baseline="-25000">
                  <a:solidFill>
                    <a:schemeClr val="accent1"/>
                  </a:solidFill>
                  <a:cs typeface="Arial"/>
                </a:rPr>
                <a:t>2</a:t>
              </a:r>
              <a:r>
                <a:rPr lang="en-US" sz="1800" b="1">
                  <a:solidFill>
                    <a:schemeClr val="accent1"/>
                  </a:solidFill>
                  <a:cs typeface="Arial"/>
                </a:rPr>
                <a:t> equivalent savings </a:t>
              </a:r>
              <a:r>
                <a:rPr lang="en-US" sz="1800">
                  <a:cs typeface="Arial"/>
                </a:rPr>
                <a:t>helping to meet set sustainability targets</a:t>
              </a:r>
            </a:p>
          </p:txBody>
        </p:sp>
      </p:grpSp>
      <p:grpSp>
        <p:nvGrpSpPr>
          <p:cNvPr id="19" name="Group 7">
            <a:extLst>
              <a:ext uri="{FF2B5EF4-FFF2-40B4-BE49-F238E27FC236}">
                <a16:creationId xmlns:a16="http://schemas.microsoft.com/office/drawing/2014/main" id="{DE507B27-85D4-4DE1-A16D-7A0153BCE304}"/>
              </a:ext>
            </a:extLst>
          </p:cNvPr>
          <p:cNvGrpSpPr/>
          <p:nvPr/>
        </p:nvGrpSpPr>
        <p:grpSpPr>
          <a:xfrm>
            <a:off x="750648" y="1881147"/>
            <a:ext cx="1304889" cy="1304889"/>
            <a:chOff x="916639" y="1806459"/>
            <a:chExt cx="1305229" cy="1305229"/>
          </a:xfrm>
        </p:grpSpPr>
        <p:sp>
          <p:nvSpPr>
            <p:cNvPr id="20" name="Oval 6">
              <a:extLst>
                <a:ext uri="{FF2B5EF4-FFF2-40B4-BE49-F238E27FC236}">
                  <a16:creationId xmlns:a16="http://schemas.microsoft.com/office/drawing/2014/main" id="{95B97526-A2B7-4E2E-AE29-655E134CDB64}"/>
                </a:ext>
              </a:extLst>
            </p:cNvPr>
            <p:cNvSpPr/>
            <p:nvPr/>
          </p:nvSpPr>
          <p:spPr>
            <a:xfrm>
              <a:off x="1284833" y="1990297"/>
              <a:ext cx="577347" cy="57734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1" name="Grafik 20" descr="Band">
              <a:extLst>
                <a:ext uri="{FF2B5EF4-FFF2-40B4-BE49-F238E27FC236}">
                  <a16:creationId xmlns:a16="http://schemas.microsoft.com/office/drawing/2014/main" id="{EBD36A22-CBB7-4FEB-BE84-9302591B28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16639" y="1806459"/>
              <a:ext cx="1305229" cy="1305229"/>
            </a:xfrm>
            <a:prstGeom prst="rect">
              <a:avLst/>
            </a:prstGeom>
          </p:spPr>
        </p:pic>
      </p:grpSp>
      <p:grpSp>
        <p:nvGrpSpPr>
          <p:cNvPr id="45" name="Group 13">
            <a:extLst>
              <a:ext uri="{FF2B5EF4-FFF2-40B4-BE49-F238E27FC236}">
                <a16:creationId xmlns:a16="http://schemas.microsoft.com/office/drawing/2014/main" id="{25F19066-509C-4B73-918E-7ACF7CCB2A9C}"/>
              </a:ext>
            </a:extLst>
          </p:cNvPr>
          <p:cNvGrpSpPr/>
          <p:nvPr/>
        </p:nvGrpSpPr>
        <p:grpSpPr>
          <a:xfrm>
            <a:off x="2999349" y="2469348"/>
            <a:ext cx="2988258" cy="3515292"/>
            <a:chOff x="5917438" y="2368361"/>
            <a:chExt cx="2989037" cy="3516208"/>
          </a:xfrm>
        </p:grpSpPr>
        <p:sp>
          <p:nvSpPr>
            <p:cNvPr id="46" name="Rechteck 45">
              <a:extLst>
                <a:ext uri="{FF2B5EF4-FFF2-40B4-BE49-F238E27FC236}">
                  <a16:creationId xmlns:a16="http://schemas.microsoft.com/office/drawing/2014/main" id="{4F4B3B87-E0B5-45A1-BEBA-49CF6E733226}"/>
                </a:ext>
              </a:extLst>
            </p:cNvPr>
            <p:cNvSpPr/>
            <p:nvPr/>
          </p:nvSpPr>
          <p:spPr>
            <a:xfrm>
              <a:off x="6145172" y="2368361"/>
              <a:ext cx="2761303" cy="35162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Inhaltsplatzhalter 5">
              <a:extLst>
                <a:ext uri="{FF2B5EF4-FFF2-40B4-BE49-F238E27FC236}">
                  <a16:creationId xmlns:a16="http://schemas.microsoft.com/office/drawing/2014/main" id="{8F6C00E9-F17F-49F0-AB2C-D6BFDB97081D}"/>
                </a:ext>
              </a:extLst>
            </p:cNvPr>
            <p:cNvSpPr txBox="1">
              <a:spLocks/>
            </p:cNvSpPr>
            <p:nvPr/>
          </p:nvSpPr>
          <p:spPr>
            <a:xfrm>
              <a:off x="5917438" y="3323228"/>
              <a:ext cx="2944104" cy="1751611"/>
            </a:xfrm>
            <a:prstGeom prst="rect">
              <a:avLst/>
            </a:prstGeom>
          </p:spPr>
          <p:txBody>
            <a:bodyPr vert="horz" lIns="107972" tIns="0" rIns="107972" bIns="0" rtlCol="0">
              <a:noAutofit/>
            </a:bodyPr>
            <a:lstStyle>
              <a:lvl1pPr marL="342900" marR="0" indent="-342900" algn="l" defTabSz="914400" rtl="0" eaLnBrk="1" fontAlgn="base" latinLnBrk="0" hangingPunct="1">
                <a:lnSpc>
                  <a:spcPct val="110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n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715963" marR="0" indent="-358775" algn="l" defTabSz="914400" rtl="0" eaLnBrk="1" fontAlgn="base" latinLnBrk="0" hangingPunct="1">
                <a:lnSpc>
                  <a:spcPct val="11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1"/>
                </a:buClr>
                <a:buSzPct val="90000"/>
                <a:buFont typeface="Wingdings 3" panose="05040102010807070707" pitchFamily="18" charset="2"/>
                <a:buChar char="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1081088" marR="0" indent="-365125" algn="l" defTabSz="914400" rtl="0" eaLnBrk="1" fontAlgn="base" latinLnBrk="0" hangingPunct="1">
                <a:lnSpc>
                  <a:spcPct val="11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accent1"/>
                </a:buClr>
                <a:buSzPct val="95000"/>
                <a:buFont typeface="Arial" panose="020B0604020202020204" pitchFamily="34" charset="0"/>
                <a:buChar char="●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1433513" marR="0" indent="-358775" algn="l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Char char="−"/>
                <a:tabLst/>
                <a:defRPr lang="de-DE" sz="20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5000"/>
                </a:lnSpc>
                <a:spcBef>
                  <a:spcPts val="0"/>
                </a:spcBef>
                <a:spcAft>
                  <a:spcPct val="50000"/>
                </a:spcAft>
                <a:buClr>
                  <a:schemeClr val="tx1"/>
                </a:buClr>
                <a:buFontTx/>
                <a:buChar char="–"/>
                <a:defRPr lang="de-DE" sz="2000" b="0" i="0" kern="1200" dirty="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 b="1">
                  <a:solidFill>
                    <a:schemeClr val="accent1"/>
                  </a:solidFill>
                </a:rPr>
                <a:t>Save fossil resources </a:t>
              </a:r>
              <a:r>
                <a:rPr lang="en-US" sz="180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hrough the use of </a:t>
              </a:r>
              <a:r>
                <a:rPr lang="en-US" sz="1800" b="1">
                  <a:solidFill>
                    <a:schemeClr val="accent1"/>
                  </a:solidFill>
                </a:rPr>
                <a:t>renewable raw materials</a:t>
              </a:r>
              <a:endParaRPr lang="de-DE" sz="1800"/>
            </a:p>
          </p:txBody>
        </p:sp>
      </p:grpSp>
      <p:pic>
        <p:nvPicPr>
          <p:cNvPr id="40" name="Grafik 39" descr="Pfeil: Nach links drehen mit einfarbiger Füllung">
            <a:extLst>
              <a:ext uri="{FF2B5EF4-FFF2-40B4-BE49-F238E27FC236}">
                <a16:creationId xmlns:a16="http://schemas.microsoft.com/office/drawing/2014/main" id="{DB9B0E2B-9309-4EFF-A230-5B420DF38E5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6465" y="1785096"/>
            <a:ext cx="1661245" cy="1661245"/>
          </a:xfrm>
          <a:prstGeom prst="rect">
            <a:avLst/>
          </a:prstGeom>
        </p:spPr>
      </p:pic>
      <p:pic>
        <p:nvPicPr>
          <p:cNvPr id="49" name="Grafik 48" descr="Kolben mit einfarbiger Füllung">
            <a:extLst>
              <a:ext uri="{FF2B5EF4-FFF2-40B4-BE49-F238E27FC236}">
                <a16:creationId xmlns:a16="http://schemas.microsoft.com/office/drawing/2014/main" id="{D78502F1-571A-4EA9-9976-91ECCE95A86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29539" y="2064935"/>
            <a:ext cx="1101567" cy="1101567"/>
          </a:xfrm>
          <a:prstGeom prst="rect">
            <a:avLst/>
          </a:prstGeom>
        </p:spPr>
      </p:pic>
      <p:pic>
        <p:nvPicPr>
          <p:cNvPr id="33" name="Grafik 32" descr="Blatt mit einfarbiger Füllung">
            <a:extLst>
              <a:ext uri="{FF2B5EF4-FFF2-40B4-BE49-F238E27FC236}">
                <a16:creationId xmlns:a16="http://schemas.microsoft.com/office/drawing/2014/main" id="{478BA250-CEF5-4FA7-8591-94D1F6C299C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17367" y="1957540"/>
            <a:ext cx="1228496" cy="1228496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996CC8AA-7E87-42FD-822F-8B2E4948AD02}"/>
              </a:ext>
            </a:extLst>
          </p:cNvPr>
          <p:cNvSpPr txBox="1"/>
          <p:nvPr/>
        </p:nvSpPr>
        <p:spPr>
          <a:xfrm>
            <a:off x="274130" y="5304682"/>
            <a:ext cx="11557453" cy="5539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/>
              <a:t>Make use of BMB’s </a:t>
            </a:r>
            <a:r>
              <a:rPr lang="en-US" b="1">
                <a:solidFill>
                  <a:schemeClr val="accent1"/>
                </a:solidFill>
              </a:rPr>
              <a:t>differentiation opportunity </a:t>
            </a:r>
            <a:r>
              <a:rPr lang="en-US" b="1"/>
              <a:t>without compromising on performance: </a:t>
            </a:r>
          </a:p>
          <a:p>
            <a:pPr algn="ctr"/>
            <a:r>
              <a:rPr lang="en-US" b="1">
                <a:solidFill>
                  <a:schemeClr val="accent1"/>
                </a:solidFill>
              </a:rPr>
              <a:t>Stand out from the competition </a:t>
            </a:r>
            <a:r>
              <a:rPr lang="en-US" b="1"/>
              <a:t>and take a conscious decision to </a:t>
            </a:r>
            <a:r>
              <a:rPr lang="en-US" b="1">
                <a:solidFill>
                  <a:schemeClr val="accent1"/>
                </a:solidFill>
              </a:rPr>
              <a:t>achieve your sustainability targets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6B7128FB-120F-4FD2-A1BF-FBB31472014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19884719-B457-46CA-A7D9-41FC89A093B9}" type="datetime8">
              <a:rPr lang="en-DE" smtClean="0"/>
              <a:t>01/11/2023 15:56</a:t>
            </a:fld>
            <a:endParaRPr lang="en-US"/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4535B626-E137-4C64-AA90-A43DD5A1FC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|  Optionale Zusatzinformationen</a:t>
            </a:r>
          </a:p>
        </p:txBody>
      </p:sp>
    </p:spTree>
    <p:extLst>
      <p:ext uri="{BB962C8B-B14F-4D97-AF65-F5344CB8AC3E}">
        <p14:creationId xmlns:p14="http://schemas.microsoft.com/office/powerpoint/2010/main" val="1335522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COLOR1" val="16777215/0/11119017/0/13803553/14926965/15455387/16314330/////////"/>
  <p:tag name="WIZCOLOR2" val="16777215/0/11119017/0/13803553/14926965/15455387/16314330/////////"/>
  <p:tag name="_BASF_WIZARD_LAYOUTID" val="258"/>
  <p:tag name="_BASF_WIZARD_VERSION" val="7.1.0"/>
  <p:tag name="_BASF_WIZARD_OBJEKTTITELID" val="120"/>
  <p:tag name="_BASF_WIZARD_OBJEKTFOLIEID" val="110"/>
  <p:tag name="_BASF_WIZARD_GROUPID" val="0"/>
  <p:tag name="_BASF_CONVERTED_TO_TAGS" val="1"/>
  <p:tag name="_BASF_CLASSIFICATION_LANGUAGE" val="1031"/>
  <p:tag name="_BASF_CLASSIFICATION" val="0"/>
  <p:tag name="_WIZ_TASKPANE_VISIBLE" val="0"/>
  <p:tag name="_WIZ_TASKPANE_WIDTH" val="446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33SzDdGdbE2yyp6ZUb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33SzDdGdbE2yyp6ZUb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2LxdTqTt2WyHL6padK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1QVBOHxnJqfmfgZ68L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vtV5skmXB0brGS3mJN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vskBSP6bmn4E1JYFKj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80chrGhlfj2VKUiVgi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bq7JQgg1I15c7QeTAG6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3CduLN4sDGcL8IxAOS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ZPLACEHOLDER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tfGb5miGFzP3JZo63b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Zz0IOEGhSeuG0K44quQ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PSXLJ62jDsYmBOJ4fR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OBtVHJTOOhRpqp7LgT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SITION" val="5/1,8/19,8/2,37"/>
  <p:tag name="LOCKED" val="1"/>
  <p:tag name="WIZSHAPE" val="WizShape"/>
  <p:tag name="VISIBLE" val="System.Xml.XmlAttribu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BaHwT0KDHen2kY47xi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27rv_.X.kOeGhMtbdEJ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F_Titel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BBCD8831-B097-48FB-9138-2D5E5E4C3819}"/>
    </a:ext>
  </a:extLst>
</a:theme>
</file>

<file path=ppt/theme/theme10.xml><?xml version="1.0" encoding="utf-8"?>
<a:theme xmlns:a="http://schemas.openxmlformats.org/drawingml/2006/main" name="6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11.xml><?xml version="1.0" encoding="utf-8"?>
<a:theme xmlns:a="http://schemas.openxmlformats.org/drawingml/2006/main" name="13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12.xml><?xml version="1.0" encoding="utf-8"?>
<a:theme xmlns:a="http://schemas.openxmlformats.org/drawingml/2006/main" name="7_BASF_FolienDesign_V10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2" id="{FC96737A-DA7E-4139-B80C-C9B92AA1EFC5}" vid="{11E2C0E5-C005-4AB9-A9C4-66C8042BFB9B}"/>
    </a:ext>
  </a:extLst>
</a:theme>
</file>

<file path=ppt/theme/theme13.xml><?xml version="1.0" encoding="utf-8"?>
<a:theme xmlns:a="http://schemas.openxmlformats.org/drawingml/2006/main" name="10_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14.xml><?xml version="1.0" encoding="utf-8"?>
<a:theme xmlns:a="http://schemas.openxmlformats.org/drawingml/2006/main" name="BASF_FolienDesign_V10 (HIDDEN)">
  <a:themeElements>
    <a:clrScheme name="Benutzerdefiniert 5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2" id="{FC96737A-DA7E-4139-B80C-C9B92AA1EFC5}" vid="{11E2C0E5-C005-4AB9-A9C4-66C8042BFB9B}"/>
    </a:ext>
  </a:extLst>
</a:theme>
</file>

<file path=ppt/theme/theme15.xml><?xml version="1.0" encoding="utf-8"?>
<a:theme xmlns:a="http://schemas.openxmlformats.org/drawingml/2006/main" name="8_BASF_FolienDesign_V10">
  <a:themeElements>
    <a:clrScheme name="01 BASF darkblu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6" id="{037919FB-2303-452E-8E3D-95DA4141C5AB}" vid="{EE6271D4-6DD1-48C3-A2A3-817EBE0B4B94}"/>
    </a:ext>
  </a:extLst>
</a:theme>
</file>

<file path=ppt/theme/theme16.xml><?xml version="1.0" encoding="utf-8"?>
<a:theme xmlns:a="http://schemas.openxmlformats.org/drawingml/2006/main" name="9_BASF_FolienDesign_V10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17.xml><?xml version="1.0" encoding="utf-8"?>
<a:theme xmlns:a="http://schemas.openxmlformats.org/drawingml/2006/main" name="12_BASF_FolienDesign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_BASF_FolienDesign_V10 (HIDDEN)">
  <a:themeElements>
    <a:clrScheme name="01 BASF darkblu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6" id="{037919FB-2303-452E-8E3D-95DA4141C5AB}" vid="{EE6271D4-6DD1-48C3-A2A3-817EBE0B4B94}"/>
    </a:ext>
  </a:extLst>
</a:theme>
</file>

<file path=ppt/theme/theme19.xml><?xml version="1.0" encoding="utf-8"?>
<a:theme xmlns:a="http://schemas.openxmlformats.org/drawingml/2006/main" name="BASF_FolienDesign_VGRL">
  <a:themeElements>
    <a:clrScheme name="Benutzerdefiniert 5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 defTabSz="685891">
          <a:defRPr sz="1350" dirty="0">
            <a:solidFill>
              <a:srgbClr val="FFFFFF"/>
            </a:solidFill>
            <a:latin typeface="Arial" panose="020B0604020202020204"/>
            <a:cs typeface="Arial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esentation1" id="{BC3521CB-925D-4DE0-9515-7144F2871508}" vid="{AC572C63-2045-4F2D-9B8A-DF10A16F6B73}"/>
    </a:ext>
  </a:extLst>
</a:theme>
</file>

<file path=ppt/theme/theme2.xml><?xml version="1.0" encoding="utf-8"?>
<a:theme xmlns:a="http://schemas.openxmlformats.org/drawingml/2006/main" name="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2" id="{827120CD-2792-4029-A5EB-3D299B677424}" vid="{4BA269BF-ABA3-41A8-8325-4FA9663B8BA1}"/>
    </a:ext>
  </a:extLst>
</a:theme>
</file>

<file path=ppt/theme/theme20.xml><?xml version="1.0" encoding="utf-8"?>
<a:theme xmlns:a="http://schemas.openxmlformats.org/drawingml/2006/main" name="11_BASF_FolienDesign_V10">
  <a:themeElements>
    <a:clrScheme name="01 BASF darkblue_colorsheme">
      <a:dk1>
        <a:srgbClr val="000000"/>
      </a:dk1>
      <a:lt1>
        <a:srgbClr val="FFFFFF"/>
      </a:lt1>
      <a:dk2>
        <a:srgbClr val="002875"/>
      </a:dk2>
      <a:lt2>
        <a:srgbClr val="FFFFFF"/>
      </a:lt2>
      <a:accent1>
        <a:srgbClr val="004A96"/>
      </a:accent1>
      <a:accent2>
        <a:srgbClr val="4472AA"/>
      </a:accent2>
      <a:accent3>
        <a:srgbClr val="7CA0C6"/>
      </a:accent3>
      <a:accent4>
        <a:srgbClr val="A6C0DA"/>
      </a:accent4>
      <a:accent5>
        <a:srgbClr val="E0E9F2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6" id="{037919FB-2303-452E-8E3D-95DA4141C5AB}" vid="{EE6271D4-6DD1-48C3-A2A3-817EBE0B4B94}"/>
    </a:ext>
  </a:extLst>
</a:theme>
</file>

<file path=ppt/theme/theme21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2.xml><?xml version="1.0" encoding="utf-8"?>
<a:theme xmlns:a="http://schemas.openxmlformats.org/drawingml/2006/main" name="Larissa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4.xml><?xml version="1.0" encoding="utf-8"?>
<a:theme xmlns:a="http://schemas.openxmlformats.org/drawingml/2006/main" name="6_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7_BASF_FolienDesign">
  <a:themeElements>
    <a:clrScheme name="BASF_colour_lightgreen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F39500"/>
      </a:hlink>
      <a:folHlink>
        <a:srgbClr val="FACF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7.xml><?xml version="1.0" encoding="utf-8"?>
<a:theme xmlns:a="http://schemas.openxmlformats.org/drawingml/2006/main" name="3_BASF_FolienDesign_V10">
  <a:themeElements>
    <a:clrScheme name="Benutzerdefiniert 5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21A0D2"/>
    </a:custClr>
    <a:custClr>
      <a:srgbClr val="4EABD6"/>
    </a:custClr>
    <a:custClr>
      <a:srgbClr val="75C4E3"/>
    </a:custClr>
    <a:custClr>
      <a:srgbClr val="9BD4EB"/>
    </a:custClr>
    <a:custClr>
      <a:srgbClr val="DAEFF8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" id="{EE9490DA-4BE1-49DB-8C68-1E5D4F197312}" vid="{3C5F279F-F353-4EF9-92B1-D5EA3978FC8F}"/>
    </a:ext>
  </a:extLst>
</a:theme>
</file>

<file path=ppt/theme/theme8.xml><?xml version="1.0" encoding="utf-8"?>
<a:theme xmlns:a="http://schemas.openxmlformats.org/drawingml/2006/main" name="4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9.xml><?xml version="1.0" encoding="utf-8"?>
<a:theme xmlns:a="http://schemas.openxmlformats.org/drawingml/2006/main" name="5_BASF_FolienDesign_V10">
  <a:themeElements>
    <a:clrScheme name="04 BASF lightgreen_colorsheme">
      <a:dk1>
        <a:srgbClr val="000000"/>
      </a:dk1>
      <a:lt1>
        <a:srgbClr val="FFFFFF"/>
      </a:lt1>
      <a:dk2>
        <a:srgbClr val="3B8809"/>
      </a:dk2>
      <a:lt2>
        <a:srgbClr val="FFFFFF"/>
      </a:lt2>
      <a:accent1>
        <a:srgbClr val="65AC1E"/>
      </a:accent1>
      <a:accent2>
        <a:srgbClr val="7EB74A"/>
      </a:accent2>
      <a:accent3>
        <a:srgbClr val="95C664"/>
      </a:accent3>
      <a:accent4>
        <a:srgbClr val="BADA9A"/>
      </a:accent4>
      <a:accent5>
        <a:srgbClr val="E9F3DE"/>
      </a:accent5>
      <a:accent6>
        <a:srgbClr val="808080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>
      <a:srgbClr val="F39500"/>
    </a:custClr>
    <a:custClr>
      <a:srgbClr val="F4A134"/>
    </a:custClr>
    <a:custClr>
      <a:srgbClr val="F7B64F"/>
    </a:custClr>
    <a:custClr>
      <a:srgbClr val="FACF8C"/>
    </a:custClr>
    <a:custClr>
      <a:srgbClr val="FDF0DB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C50022"/>
    </a:custClr>
    <a:custClr>
      <a:srgbClr val="CE485C"/>
    </a:custClr>
    <a:custClr>
      <a:srgbClr val="E07789"/>
    </a:custClr>
    <a:custClr>
      <a:srgbClr val="EBA6B2"/>
    </a:custClr>
    <a:custClr>
      <a:srgbClr val="F8E0E4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4A96"/>
    </a:custClr>
    <a:custClr>
      <a:srgbClr val="4472AA"/>
    </a:custClr>
    <a:custClr>
      <a:srgbClr val="7CA0C6"/>
    </a:custClr>
    <a:custClr>
      <a:srgbClr val="A6C0DA"/>
    </a:custClr>
    <a:custClr>
      <a:srgbClr val="E0E9F2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65AC1E"/>
    </a:custClr>
    <a:custClr>
      <a:srgbClr val="7EB74A"/>
    </a:custClr>
    <a:custClr>
      <a:srgbClr val="95C664"/>
    </a:custClr>
    <a:custClr>
      <a:srgbClr val="BADA9A"/>
    </a:custClr>
    <a:custClr>
      <a:srgbClr val="E9F3DE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  <a:custClr>
      <a:srgbClr val="00793A"/>
    </a:custClr>
    <a:custClr>
      <a:srgbClr val="379665"/>
    </a:custClr>
    <a:custClr>
      <a:srgbClr val="62AC86"/>
    </a:custClr>
    <a:custClr>
      <a:srgbClr val="A6D0BA"/>
    </a:custClr>
    <a:custClr>
      <a:srgbClr val="E0EFE7"/>
    </a:custClr>
    <a:custClr>
      <a:srgbClr val="808080"/>
    </a:custClr>
    <a:custClr>
      <a:srgbClr val="999999"/>
    </a:custClr>
    <a:custClr>
      <a:srgbClr val="666666"/>
    </a:custClr>
    <a:custClr>
      <a:srgbClr val="333333"/>
    </a:custClr>
    <a:custClr>
      <a:srgbClr val="000000"/>
    </a:custClr>
  </a:custClrLst>
  <a:extLst>
    <a:ext uri="{05A4C25C-085E-4340-85A3-A5531E510DB2}">
      <thm15:themeFamily xmlns:thm15="http://schemas.microsoft.com/office/thememl/2012/main" name="Präsentation14" id="{12347DCE-1DCD-496B-BB8D-42D92084A308}" vid="{82DFE96A-3252-4AF9-AB49-E5554BAF447E}"/>
    </a:ext>
  </a:extLst>
</a:theme>
</file>

<file path=ppt/theme/themeOverride1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2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3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4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5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6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7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ppt/theme/themeOverride8.xml><?xml version="1.0" encoding="utf-8"?>
<a:themeOverride xmlns:a="http://schemas.openxmlformats.org/drawingml/2006/main">
  <a:fontScheme name="Arial">
    <a:maj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Arial"/>
      <a:cs typeface="Arial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89852636681F43978AE78572737AF7" ma:contentTypeVersion="9" ma:contentTypeDescription="Create a new document." ma:contentTypeScope="" ma:versionID="aadee5566de8d2afd677a1d7e1e282e3">
  <xsd:schema xmlns:xsd="http://www.w3.org/2001/XMLSchema" xmlns:xs="http://www.w3.org/2001/XMLSchema" xmlns:p="http://schemas.microsoft.com/office/2006/metadata/properties" xmlns:ns2="e45b3b4b-c192-4824-81f2-75745cb9627e" xmlns:ns3="9bed400f-64ea-4680-9c17-b4a3608fa748" targetNamespace="http://schemas.microsoft.com/office/2006/metadata/properties" ma:root="true" ma:fieldsID="aced4f562b026496ded5f3eddcd75da9" ns2:_="" ns3:_="">
    <xsd:import namespace="e45b3b4b-c192-4824-81f2-75745cb9627e"/>
    <xsd:import namespace="9bed400f-64ea-4680-9c17-b4a3608fa7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5b3b4b-c192-4824-81f2-75745cb962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04f2cd92-8d93-4e4c-83d3-86703d91558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ed400f-64ea-4680-9c17-b4a3608fa74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da9a2c63-03da-46c6-9ce3-b04c16bc286d}" ma:internalName="TaxCatchAll" ma:showField="CatchAllData" ma:web="9bed400f-64ea-4680-9c17-b4a3608fa74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45b3b4b-c192-4824-81f2-75745cb9627e">
      <Terms xmlns="http://schemas.microsoft.com/office/infopath/2007/PartnerControls"/>
    </lcf76f155ced4ddcb4097134ff3c332f>
    <TaxCatchAll xmlns="9bed400f-64ea-4680-9c17-b4a3608fa74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9A9D5A6-B47F-41C3-9EAE-B2BFFD1D7086}">
  <ds:schemaRefs>
    <ds:schemaRef ds:uri="9bed400f-64ea-4680-9c17-b4a3608fa748"/>
    <ds:schemaRef ds:uri="e45b3b4b-c192-4824-81f2-75745cb9627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0CCF958-B496-4770-869A-E5D1653C6CF3}">
  <ds:schemaRefs>
    <ds:schemaRef ds:uri="http://www.w3.org/XML/1998/namespace"/>
    <ds:schemaRef ds:uri="http://schemas.microsoft.com/office/2006/documentManagement/types"/>
    <ds:schemaRef ds:uri="http://purl.org/dc/dcmitype/"/>
    <ds:schemaRef ds:uri="e45b3b4b-c192-4824-81f2-75745cb9627e"/>
    <ds:schemaRef ds:uri="http://purl.org/dc/elements/1.1/"/>
    <ds:schemaRef ds:uri="9bed400f-64ea-4680-9c17-b4a3608fa748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8B1E651-0427-42A1-B72A-CFD470DEA7A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25</Words>
  <Application>Microsoft Office PowerPoint</Application>
  <PresentationFormat>Benutzerdefiniert</PresentationFormat>
  <Paragraphs>138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0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27" baseType="lpstr">
      <vt:lpstr>Arial</vt:lpstr>
      <vt:lpstr>Wingdings</vt:lpstr>
      <vt:lpstr>Wingdings 3</vt:lpstr>
      <vt:lpstr>BASF_TitelDesign_V10</vt:lpstr>
      <vt:lpstr>BASF_FolienDesign_V10</vt:lpstr>
      <vt:lpstr>2_BASF_FolienDesign_V10</vt:lpstr>
      <vt:lpstr>6_BASF_FolienDesign</vt:lpstr>
      <vt:lpstr>7_BASF_FolienDesign</vt:lpstr>
      <vt:lpstr>1_BASF_FolienDesign_V10</vt:lpstr>
      <vt:lpstr>3_BASF_FolienDesign_V10</vt:lpstr>
      <vt:lpstr>4_BASF_FolienDesign_V10</vt:lpstr>
      <vt:lpstr>5_BASF_FolienDesign_V10</vt:lpstr>
      <vt:lpstr>6_BASF_FolienDesign_V10</vt:lpstr>
      <vt:lpstr>13_BASF_FolienDesign_V10</vt:lpstr>
      <vt:lpstr>7_BASF_FolienDesign_V10</vt:lpstr>
      <vt:lpstr>10_BASF_FolienDesign_V10</vt:lpstr>
      <vt:lpstr>BASF_FolienDesign_V10 (HIDDEN)</vt:lpstr>
      <vt:lpstr>8_BASF_FolienDesign_V10</vt:lpstr>
      <vt:lpstr>9_BASF_FolienDesign_V10</vt:lpstr>
      <vt:lpstr>12_BASF_FolienDesign</vt:lpstr>
      <vt:lpstr>1_BASF_FolienDesign_V10 (HIDDEN)</vt:lpstr>
      <vt:lpstr>BASF_FolienDesign_VGRL</vt:lpstr>
      <vt:lpstr>11_BASF_FolienDesign_V10</vt:lpstr>
      <vt:lpstr>think-cell Slide</vt:lpstr>
      <vt:lpstr>The majority of our portfolio is available as BMBcertTM BASF BMBcertTM Portfolio (1/2)</vt:lpstr>
      <vt:lpstr>The majority of our portfolio is available as BMBcertTM BASF BMBcertTM Portfolio (2/2)</vt:lpstr>
      <vt:lpstr>BMBcertTM products have a strong value proposition but the concept is rather abstract and needs to be understood</vt:lpstr>
    </vt:vector>
  </TitlesOfParts>
  <Company>BASF 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isa Marlene Knopf</dc:creator>
  <cp:keywords>18809-01</cp:keywords>
  <cp:lastModifiedBy>selina.roos@basf.com</cp:lastModifiedBy>
  <cp:revision>2</cp:revision>
  <cp:lastPrinted>2017-06-09T08:22:17Z</cp:lastPrinted>
  <dcterms:created xsi:type="dcterms:W3CDTF">2012-05-08T13:55:24Z</dcterms:created>
  <dcterms:modified xsi:type="dcterms:W3CDTF">2023-01-11T15:5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_to_AIP">
    <vt:i4>0</vt:i4>
  </property>
  <property fmtid="{D5CDD505-2E9C-101B-9397-08002B2CF9AE}" pid="3" name="ContentTypeId">
    <vt:lpwstr>0x010100E489852636681F43978AE78572737AF7</vt:lpwstr>
  </property>
  <property fmtid="{D5CDD505-2E9C-101B-9397-08002B2CF9AE}" pid="4" name="MSIP_Label_c8c00982-80e1-41e6-a03a-12f4ca954faf_Enabled">
    <vt:lpwstr>True</vt:lpwstr>
  </property>
  <property fmtid="{D5CDD505-2E9C-101B-9397-08002B2CF9AE}" pid="5" name="MSIP_Label_c8c00982-80e1-41e6-a03a-12f4ca954faf_SiteId">
    <vt:lpwstr>ecaa386b-c8df-4ce0-ad01-740cbdb5ba55</vt:lpwstr>
  </property>
  <property fmtid="{D5CDD505-2E9C-101B-9397-08002B2CF9AE}" pid="6" name="MSIP_Label_c8c00982-80e1-41e6-a03a-12f4ca954faf_Owner">
    <vt:lpwstr>SchlepU@basfad.basf.net</vt:lpwstr>
  </property>
  <property fmtid="{D5CDD505-2E9C-101B-9397-08002B2CF9AE}" pid="7" name="MSIP_Label_c8c00982-80e1-41e6-a03a-12f4ca954faf_SetDate">
    <vt:lpwstr>2021-03-11T14:04:00.4775462Z</vt:lpwstr>
  </property>
  <property fmtid="{D5CDD505-2E9C-101B-9397-08002B2CF9AE}" pid="8" name="MSIP_Label_c8c00982-80e1-41e6-a03a-12f4ca954faf_Name">
    <vt:lpwstr>Internal</vt:lpwstr>
  </property>
  <property fmtid="{D5CDD505-2E9C-101B-9397-08002B2CF9AE}" pid="9" name="MSIP_Label_c8c00982-80e1-41e6-a03a-12f4ca954faf_Application">
    <vt:lpwstr>Microsoft Azure Information Protection</vt:lpwstr>
  </property>
  <property fmtid="{D5CDD505-2E9C-101B-9397-08002B2CF9AE}" pid="10" name="MSIP_Label_c8c00982-80e1-41e6-a03a-12f4ca954faf_ActionId">
    <vt:lpwstr>d1d973d0-5c41-4c2e-b4d7-992443b7a34d</vt:lpwstr>
  </property>
  <property fmtid="{D5CDD505-2E9C-101B-9397-08002B2CF9AE}" pid="11" name="MSIP_Label_c8c00982-80e1-41e6-a03a-12f4ca954faf_Extended_MSFT_Method">
    <vt:lpwstr>Automatic</vt:lpwstr>
  </property>
  <property fmtid="{D5CDD505-2E9C-101B-9397-08002B2CF9AE}" pid="12" name="Order">
    <vt:r8>100</vt:r8>
  </property>
  <property fmtid="{D5CDD505-2E9C-101B-9397-08002B2CF9AE}" pid="13" name="MediaServiceImageTags">
    <vt:lpwstr/>
  </property>
  <property fmtid="{D5CDD505-2E9C-101B-9397-08002B2CF9AE}" pid="14" name="MSIP_Label_06530cf4-8573-4c29-a912-bbcdac835909_Enabled">
    <vt:lpwstr>true</vt:lpwstr>
  </property>
  <property fmtid="{D5CDD505-2E9C-101B-9397-08002B2CF9AE}" pid="15" name="MSIP_Label_06530cf4-8573-4c29-a912-bbcdac835909_SetDate">
    <vt:lpwstr>2023-01-11T15:58:45Z</vt:lpwstr>
  </property>
  <property fmtid="{D5CDD505-2E9C-101B-9397-08002B2CF9AE}" pid="16" name="MSIP_Label_06530cf4-8573-4c29-a912-bbcdac835909_Method">
    <vt:lpwstr>Privileged</vt:lpwstr>
  </property>
  <property fmtid="{D5CDD505-2E9C-101B-9397-08002B2CF9AE}" pid="17" name="MSIP_Label_06530cf4-8573-4c29-a912-bbcdac835909_Name">
    <vt:lpwstr>06530cf4-8573-4c29-a912-bbcdac835909</vt:lpwstr>
  </property>
  <property fmtid="{D5CDD505-2E9C-101B-9397-08002B2CF9AE}" pid="18" name="MSIP_Label_06530cf4-8573-4c29-a912-bbcdac835909_SiteId">
    <vt:lpwstr>ecaa386b-c8df-4ce0-ad01-740cbdb5ba55</vt:lpwstr>
  </property>
  <property fmtid="{D5CDD505-2E9C-101B-9397-08002B2CF9AE}" pid="19" name="MSIP_Label_06530cf4-8573-4c29-a912-bbcdac835909_ActionId">
    <vt:lpwstr>4c6b2a77-0884-4634-b1ad-ac5347968d07</vt:lpwstr>
  </property>
  <property fmtid="{D5CDD505-2E9C-101B-9397-08002B2CF9AE}" pid="20" name="MSIP_Label_06530cf4-8573-4c29-a912-bbcdac835909_ContentBits">
    <vt:lpwstr>2</vt:lpwstr>
  </property>
</Properties>
</file>